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6" r:id="rId4"/>
  </p:sldMasterIdLst>
  <p:notesMasterIdLst>
    <p:notesMasterId r:id="rId13"/>
  </p:notesMasterIdLst>
  <p:handoutMasterIdLst>
    <p:handoutMasterId r:id="rId14"/>
  </p:handoutMasterIdLst>
  <p:sldIdLst>
    <p:sldId id="366" r:id="rId5"/>
    <p:sldId id="374" r:id="rId6"/>
    <p:sldId id="375" r:id="rId7"/>
    <p:sldId id="376" r:id="rId8"/>
    <p:sldId id="377" r:id="rId9"/>
    <p:sldId id="378" r:id="rId10"/>
    <p:sldId id="379" r:id="rId11"/>
    <p:sldId id="380" r:id="rId12"/>
  </p:sldIdLst>
  <p:sldSz cx="12192000" cy="6858000"/>
  <p:notesSz cx="6808788" cy="9940925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78">
          <p15:clr>
            <a:srgbClr val="A4A3A4"/>
          </p15:clr>
        </p15:guide>
        <p15:guide id="2" orient="horz" pos="210">
          <p15:clr>
            <a:srgbClr val="A4A3A4"/>
          </p15:clr>
        </p15:guide>
        <p15:guide id="3" orient="horz" pos="981">
          <p15:clr>
            <a:srgbClr val="A4A3A4"/>
          </p15:clr>
        </p15:guide>
        <p15:guide id="4" orient="horz" pos="3838">
          <p15:clr>
            <a:srgbClr val="A4A3A4"/>
          </p15:clr>
        </p15:guide>
        <p15:guide id="5" pos="211">
          <p15:clr>
            <a:srgbClr val="A4A3A4"/>
          </p15:clr>
        </p15:guide>
        <p15:guide id="6" pos="7469">
          <p15:clr>
            <a:srgbClr val="A4A3A4"/>
          </p15:clr>
        </p15:guide>
        <p15:guide id="7" pos="6955">
          <p15:clr>
            <a:srgbClr val="A4A3A4"/>
          </p15:clr>
        </p15:guide>
        <p15:guide id="8" pos="3840">
          <p15:clr>
            <a:srgbClr val="A4A3A4"/>
          </p15:clr>
        </p15:guide>
        <p15:guide id="9" orient="horz" pos="4319">
          <p15:clr>
            <a:srgbClr val="A4A3A4"/>
          </p15:clr>
        </p15:guide>
        <p15:guide id="10" pos="7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9A0B5"/>
    <a:srgbClr val="3A6487"/>
    <a:srgbClr val="372C26"/>
    <a:srgbClr val="654E38"/>
    <a:srgbClr val="A6B5CE"/>
    <a:srgbClr val="FFFFFF"/>
    <a:srgbClr val="00A0F5"/>
    <a:srgbClr val="EDB58B"/>
    <a:srgbClr val="F7DECB"/>
    <a:srgbClr val="CCC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4474" autoAdjust="0"/>
    <p:restoredTop sz="93979" autoAdjust="0"/>
  </p:normalViewPr>
  <p:slideViewPr>
    <p:cSldViewPr>
      <p:cViewPr varScale="1">
        <p:scale>
          <a:sx n="73" d="100"/>
          <a:sy n="73" d="100"/>
        </p:scale>
        <p:origin x="234" y="72"/>
      </p:cViewPr>
      <p:guideLst>
        <p:guide orient="horz" pos="2478"/>
        <p:guide orient="horz" pos="210"/>
        <p:guide orient="horz" pos="981"/>
        <p:guide orient="horz" pos="3838"/>
        <p:guide pos="211"/>
        <p:guide pos="7469"/>
        <p:guide pos="6955"/>
        <p:guide pos="3840"/>
        <p:guide orient="horz" pos="4319"/>
        <p:guide pos="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0" d="100"/>
        <a:sy n="60" d="100"/>
      </p:scale>
      <p:origin x="0" y="0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6038" y="0"/>
            <a:ext cx="2951162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0C5EE8-83A9-4314-BA47-046AA9DCFFB0}" type="datetimeFigureOut">
              <a:rPr lang="de-DE" smtClean="0"/>
              <a:t>08.03.2021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42450"/>
            <a:ext cx="2951163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6038" y="9442450"/>
            <a:ext cx="2951162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F03501-99E4-4FFE-A63E-03AB2CCF0CDB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269203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AD6230-35D5-4CDF-8FAD-B5EAC575EF9D}" type="datetimeFigureOut">
              <a:rPr lang="en-US" smtClean="0"/>
              <a:t>3/8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6125"/>
            <a:ext cx="6624638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879" y="4721940"/>
            <a:ext cx="5447030" cy="4473416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A2A421-727C-49B1-A098-B7277550379B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81028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k_tit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163071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12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8696" y="-495436"/>
            <a:ext cx="12192886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72000" y="810000"/>
            <a:ext cx="8932800" cy="1107996"/>
          </a:xfrm>
          <a:noFill/>
        </p:spPr>
        <p:txBody>
          <a:bodyPr anchor="t" anchorCtr="0"/>
          <a:lstStyle>
            <a:lvl1pPr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oncise title </a:t>
            </a:r>
            <a:br>
              <a:rPr lang="en-US" dirty="0"/>
            </a:br>
            <a:r>
              <a:rPr lang="en-US" dirty="0"/>
              <a:t>for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72000" y="1990801"/>
            <a:ext cx="8932800" cy="276999"/>
          </a:xfrm>
          <a:noFill/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Additional sublin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72000" y="2710801"/>
            <a:ext cx="8932800" cy="430887"/>
          </a:xfrm>
          <a:noFill/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 baseline="0">
                <a:solidFill>
                  <a:schemeClr val="bg1"/>
                </a:solidFill>
              </a:defRPr>
            </a:lvl1pPr>
            <a:lvl2pPr marL="180000" indent="0">
              <a:buNone/>
              <a:defRPr sz="1400">
                <a:solidFill>
                  <a:schemeClr val="bg1"/>
                </a:solidFill>
              </a:defRPr>
            </a:lvl2pPr>
            <a:lvl3pPr marL="360000" indent="0">
              <a:buNone/>
              <a:defRPr sz="1400">
                <a:solidFill>
                  <a:schemeClr val="bg1"/>
                </a:solidFill>
              </a:defRPr>
            </a:lvl3pPr>
            <a:lvl4pPr marL="540000" indent="0">
              <a:buNone/>
              <a:defRPr sz="1400">
                <a:solidFill>
                  <a:schemeClr val="bg1"/>
                </a:solidFill>
              </a:defRPr>
            </a:lvl4pPr>
            <a:lvl5pPr marL="720000" indent="0"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ate  |  Name of speaker</a:t>
            </a:r>
            <a:br>
              <a:rPr lang="en-US" dirty="0"/>
            </a:br>
            <a:r>
              <a:rPr lang="en-US" dirty="0"/>
              <a:t>Sender: </a:t>
            </a:r>
            <a:r>
              <a:rPr lang="en-US" dirty="0" err="1"/>
              <a:t>thyssenkrupp</a:t>
            </a:r>
            <a:r>
              <a:rPr lang="en-US" dirty="0"/>
              <a:t> + BA (optional additional management structure/not legal entity)</a:t>
            </a:r>
          </a:p>
        </p:txBody>
      </p:sp>
      <p:pic>
        <p:nvPicPr>
          <p:cNvPr id="7" name="Bild 1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000" y="3602645"/>
            <a:ext cx="1860100" cy="48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24899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k_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8359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14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48"/>
            <a:ext cx="12192886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72000" y="810000"/>
            <a:ext cx="8932800" cy="1107996"/>
          </a:xfrm>
          <a:noFill/>
        </p:spPr>
        <p:txBody>
          <a:bodyPr anchor="t" anchorCtr="0"/>
          <a:lstStyle>
            <a:lvl1pPr>
              <a:defRPr sz="3600">
                <a:solidFill>
                  <a:schemeClr val="accent5"/>
                </a:solidFill>
                <a:latin typeface="+mn-lt"/>
              </a:defRPr>
            </a:lvl1pPr>
          </a:lstStyle>
          <a:p>
            <a:r>
              <a:rPr lang="en-US" dirty="0"/>
              <a:t>Concise title </a:t>
            </a:r>
            <a:br>
              <a:rPr lang="en-US" dirty="0"/>
            </a:br>
            <a:r>
              <a:rPr lang="en-US" dirty="0"/>
              <a:t>for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72000" y="1990801"/>
            <a:ext cx="8932800" cy="276999"/>
          </a:xfrm>
          <a:noFill/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accent5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Additional sublin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72000" y="2710801"/>
            <a:ext cx="8932800" cy="430887"/>
          </a:xfrm>
          <a:noFill/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 baseline="0">
                <a:solidFill>
                  <a:schemeClr val="accent5"/>
                </a:solidFill>
              </a:defRPr>
            </a:lvl1pPr>
            <a:lvl2pPr marL="180000" indent="0">
              <a:buNone/>
              <a:defRPr sz="1400">
                <a:solidFill>
                  <a:schemeClr val="bg1"/>
                </a:solidFill>
              </a:defRPr>
            </a:lvl2pPr>
            <a:lvl3pPr marL="360000" indent="0">
              <a:buNone/>
              <a:defRPr sz="1400">
                <a:solidFill>
                  <a:schemeClr val="bg1"/>
                </a:solidFill>
              </a:defRPr>
            </a:lvl3pPr>
            <a:lvl4pPr marL="540000" indent="0">
              <a:buNone/>
              <a:defRPr sz="1400">
                <a:solidFill>
                  <a:schemeClr val="bg1"/>
                </a:solidFill>
              </a:defRPr>
            </a:lvl4pPr>
            <a:lvl5pPr marL="720000" indent="0"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ate  |  Name of speaker</a:t>
            </a:r>
            <a:br>
              <a:rPr lang="en-US" dirty="0"/>
            </a:br>
            <a:r>
              <a:rPr lang="en-US" dirty="0"/>
              <a:t>Sender: </a:t>
            </a:r>
            <a:r>
              <a:rPr lang="en-US" dirty="0" err="1"/>
              <a:t>thyssenkrupp</a:t>
            </a:r>
            <a:r>
              <a:rPr lang="en-US" dirty="0"/>
              <a:t> + BA (optional additional management structure/not legal entity)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211" y="3584688"/>
            <a:ext cx="1860093" cy="48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84107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7198259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k_headlin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783173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26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6000" y="259200"/>
            <a:ext cx="11520000" cy="33855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Headline for max two lines tk Brand Blue (Subline one line only 18 pt grey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35999" y="6163200"/>
            <a:ext cx="10704000" cy="144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 baseline="0"/>
            </a:lvl1pPr>
          </a:lstStyle>
          <a:p>
            <a:pPr lvl="0"/>
            <a:r>
              <a:rPr lang="en-US" dirty="0"/>
              <a:t>Placeholder for sources and footnote: footnotes are numbered (no *) </a:t>
            </a:r>
          </a:p>
        </p:txBody>
      </p:sp>
    </p:spTree>
    <p:extLst>
      <p:ext uri="{BB962C8B-B14F-4D97-AF65-F5344CB8AC3E}">
        <p14:creationId xmlns:p14="http://schemas.microsoft.com/office/powerpoint/2010/main" val="34744952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k_headline + text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for max two lines </a:t>
            </a:r>
            <a:r>
              <a:rPr lang="en-US" dirty="0" err="1"/>
              <a:t>tk</a:t>
            </a:r>
            <a:r>
              <a:rPr lang="en-US" dirty="0"/>
              <a:t> Brand Blue (Subline one line only 18 </a:t>
            </a:r>
            <a:r>
              <a:rPr lang="en-US" dirty="0" err="1"/>
              <a:t>pt</a:t>
            </a:r>
            <a:r>
              <a:rPr lang="en-US" dirty="0"/>
              <a:t> grey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31200" y="1522799"/>
            <a:ext cx="5519973" cy="4536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35999" y="6163200"/>
            <a:ext cx="10704000" cy="144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 baseline="0"/>
            </a:lvl1pPr>
          </a:lstStyle>
          <a:p>
            <a:pPr lvl="0"/>
            <a:r>
              <a:rPr lang="en-US" dirty="0"/>
              <a:t>Placeholder for sources and footnote: footnotes are numbered (no *) </a:t>
            </a:r>
          </a:p>
        </p:txBody>
      </p:sp>
    </p:spTree>
    <p:extLst>
      <p:ext uri="{BB962C8B-B14F-4D97-AF65-F5344CB8AC3E}">
        <p14:creationId xmlns:p14="http://schemas.microsoft.com/office/powerpoint/2010/main" val="8663430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k_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51989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28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for max two lines </a:t>
            </a:r>
            <a:r>
              <a:rPr lang="en-US" dirty="0" err="1"/>
              <a:t>tk</a:t>
            </a:r>
            <a:r>
              <a:rPr lang="en-US" dirty="0"/>
              <a:t> Brand Blue (Subline one line only 18 </a:t>
            </a:r>
            <a:r>
              <a:rPr lang="en-US" dirty="0" err="1"/>
              <a:t>pt</a:t>
            </a:r>
            <a:r>
              <a:rPr lang="en-US" dirty="0"/>
              <a:t> grey)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35999" y="6163200"/>
            <a:ext cx="10704000" cy="144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 baseline="0"/>
            </a:lvl1pPr>
          </a:lstStyle>
          <a:p>
            <a:pPr lvl="0"/>
            <a:r>
              <a:rPr lang="en-US" dirty="0"/>
              <a:t>Placeholder for sources and footnote: footnotes are numbered (no *) </a:t>
            </a:r>
          </a:p>
        </p:txBody>
      </p:sp>
    </p:spTree>
    <p:extLst>
      <p:ext uri="{BB962C8B-B14F-4D97-AF65-F5344CB8AC3E}">
        <p14:creationId xmlns:p14="http://schemas.microsoft.com/office/powerpoint/2010/main" val="28295582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k_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80586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31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564902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k_headlin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03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0" i="0" baseline="0" dirty="0">
              <a:solidFill>
                <a:schemeClr val="tx1"/>
              </a:solidFill>
              <a:latin typeface="TKTypeMedium" panose="020B0606040502020204" pitchFamily="34" charset="0"/>
              <a:ea typeface="+mj-ea"/>
              <a:cs typeface="+mj-cs"/>
              <a:sym typeface="TKTypeMedium" panose="020B06060405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99356" y="692696"/>
            <a:ext cx="11520000" cy="33855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de-DE" dirty="0"/>
              <a:t>Add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01363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34776750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102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6000" y="259200"/>
            <a:ext cx="11520000" cy="33855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6000" y="1522799"/>
            <a:ext cx="11520000" cy="45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4" name="Rechteck 13"/>
          <p:cNvSpPr>
            <a:spLocks/>
          </p:cNvSpPr>
          <p:nvPr userDrawn="1"/>
        </p:nvSpPr>
        <p:spPr>
          <a:xfrm>
            <a:off x="336000" y="6541362"/>
            <a:ext cx="252000" cy="110800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>
              <a:lnSpc>
                <a:spcPct val="90000"/>
              </a:lnSpc>
            </a:pPr>
            <a:fld id="{93956F12-A918-41A9-A38F-C36C1096EDCE}" type="slidenum">
              <a:rPr lang="de-DE" sz="800">
                <a:solidFill>
                  <a:srgbClr val="78879B"/>
                </a:solidFill>
              </a:rPr>
              <a:pPr>
                <a:lnSpc>
                  <a:spcPct val="90000"/>
                </a:lnSpc>
              </a:pPr>
              <a:t>‹Nr.›</a:t>
            </a:fld>
            <a:endParaRPr lang="de-DE" sz="800" dirty="0">
              <a:solidFill>
                <a:srgbClr val="78879B"/>
              </a:solidFill>
            </a:endParaRPr>
          </a:p>
        </p:txBody>
      </p:sp>
      <p:sp>
        <p:nvSpPr>
          <p:cNvPr id="15" name="Rechteck 14"/>
          <p:cNvSpPr>
            <a:spLocks/>
          </p:cNvSpPr>
          <p:nvPr userDrawn="1"/>
        </p:nvSpPr>
        <p:spPr>
          <a:xfrm>
            <a:off x="550713" y="6541362"/>
            <a:ext cx="7813539" cy="110800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de-DE" sz="800" dirty="0">
                <a:solidFill>
                  <a:srgbClr val="78879B"/>
                </a:solidFill>
              </a:rPr>
              <a:t>CO/HRM-OSH  |  we care 2021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5600" y="247538"/>
            <a:ext cx="1340400" cy="350216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13331" y="6370012"/>
            <a:ext cx="342669" cy="342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29087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200" kern="1200">
          <a:solidFill>
            <a:schemeClr val="accent5"/>
          </a:solidFill>
          <a:latin typeface="+mn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44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62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microsoft.com/office/2007/relationships/hdphoto" Target="../media/hdphoto1.wdp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9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2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10.jpg"/><Relationship Id="rId9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2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1.bin"/><Relationship Id="rId4" Type="http://schemas.openxmlformats.org/officeDocument/2006/relationships/image" Target="../media/image11.jpg"/><Relationship Id="rId9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2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12.jpg"/><Relationship Id="rId9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2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3.bin"/><Relationship Id="rId4" Type="http://schemas.openxmlformats.org/officeDocument/2006/relationships/image" Target="../media/image13.jpg"/><Relationship Id="rId9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2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4.bin"/><Relationship Id="rId4" Type="http://schemas.openxmlformats.org/officeDocument/2006/relationships/image" Target="../media/image14.jpg"/><Relationship Id="rId9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2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5.bin"/><Relationship Id="rId4" Type="http://schemas.openxmlformats.org/officeDocument/2006/relationships/image" Target="../media/image15.jpg"/><Relationship Id="rId9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0011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05"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72000" y="810000"/>
            <a:ext cx="9672472" cy="1107996"/>
          </a:xfrm>
        </p:spPr>
        <p:txBody>
          <a:bodyPr vert="horz"/>
          <a:lstStyle/>
          <a:p>
            <a:pPr>
              <a:spcBef>
                <a:spcPts val="0"/>
              </a:spcBef>
              <a:spcAft>
                <a:spcPts val="1200"/>
              </a:spcAft>
              <a:buClr>
                <a:srgbClr val="B0BAC4"/>
              </a:buClr>
            </a:pPr>
            <a:r>
              <a:rPr lang="fr-FR" dirty="0">
                <a:latin typeface="TKTypeMedium" panose="020B0606040502020204" pitchFamily="34" charset="0"/>
              </a:rPr>
              <a:t>Moments #</a:t>
            </a:r>
            <a:r>
              <a:rPr lang="fr-FR" dirty="0" err="1">
                <a:latin typeface="TKTypeMedium" panose="020B0606040502020204" pitchFamily="34" charset="0"/>
              </a:rPr>
              <a:t>howareyou</a:t>
            </a:r>
            <a:r>
              <a:rPr lang="fr-FR" dirty="0">
                <a:latin typeface="TKTypeMedium" panose="020B0606040502020204" pitchFamily="34" charset="0"/>
              </a:rPr>
              <a:t/>
            </a:r>
            <a:br>
              <a:rPr lang="fr-FR" dirty="0">
                <a:latin typeface="TKTypeMedium" panose="020B0606040502020204" pitchFamily="34" charset="0"/>
              </a:rPr>
            </a:br>
            <a:r>
              <a:rPr lang="fr-FR" dirty="0">
                <a:latin typeface="TKTypeMedium" panose="020B0606040502020204" pitchFamily="34" charset="0"/>
              </a:rPr>
              <a:t>Entames de discussions d’équipe, réunions, etc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72000" y="2710801"/>
            <a:ext cx="8932800" cy="215444"/>
          </a:xfrm>
        </p:spPr>
        <p:txBody>
          <a:bodyPr/>
          <a:lstStyle/>
          <a:p>
            <a:r>
              <a:rPr lang="de-DE" dirty="0" smtClean="0"/>
              <a:t>CO/HRM-OSH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40520" b="63320" l="20827" r="71707"/>
                    </a14:imgEffect>
                  </a14:imgLayer>
                </a14:imgProps>
              </a:ext>
            </a:extLst>
          </a:blip>
          <a:srcRect l="29134" t="41835" r="28631" b="32008"/>
          <a:stretch/>
        </p:blipFill>
        <p:spPr>
          <a:xfrm>
            <a:off x="4139454" y="2276872"/>
            <a:ext cx="8052546" cy="3324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35656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196"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24"/>
          <p:cNvSpPr txBox="1">
            <a:spLocks/>
          </p:cNvSpPr>
          <p:nvPr/>
        </p:nvSpPr>
        <p:spPr>
          <a:xfrm>
            <a:off x="-60684" y="327863"/>
            <a:ext cx="3888432" cy="590834"/>
          </a:xfrm>
          <a:prstGeom prst="rect">
            <a:avLst/>
          </a:prstGeom>
          <a:solidFill>
            <a:schemeClr val="accent5"/>
          </a:solidFill>
        </p:spPr>
        <p:txBody>
          <a:bodyPr vert="horz" wrap="square" lIns="324000" tIns="79200" rIns="252000" bIns="79200" rtlCol="0" anchor="b" anchorCtr="0">
            <a:spAutoFit/>
          </a:bodyPr>
          <a:lstStyle>
            <a:defPPr>
              <a:defRPr lang="en-US"/>
            </a:defPPr>
            <a:lvl1pPr>
              <a:spcBef>
                <a:spcPct val="0"/>
              </a:spcBef>
              <a:buNone/>
              <a:defRPr sz="3600">
                <a:solidFill>
                  <a:schemeClr val="bg1"/>
                </a:solidFill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  <a:spcAft>
                <a:spcPts val="1200"/>
              </a:spcAft>
              <a:buClr>
                <a:srgbClr val="B0BAC4"/>
              </a:buClr>
            </a:pPr>
            <a:r>
              <a:rPr lang="fr-FR" sz="2800" dirty="0">
                <a:latin typeface="TKTypeMedium" panose="020B0606040502020204" pitchFamily="34" charset="0"/>
              </a:rPr>
              <a:t>Moments #</a:t>
            </a:r>
            <a:r>
              <a:rPr lang="fr-FR" sz="2800" dirty="0" err="1">
                <a:latin typeface="TKTypeMedium" panose="020B0606040502020204" pitchFamily="34" charset="0"/>
              </a:rPr>
              <a:t>howareyou</a:t>
            </a:r>
            <a:endParaRPr lang="fr-FR" sz="2800" dirty="0">
              <a:latin typeface="TKTypeMedium" panose="020B0606040502020204" pitchFamily="34" charset="0"/>
            </a:endParaRPr>
          </a:p>
        </p:txBody>
      </p:sp>
      <p:sp>
        <p:nvSpPr>
          <p:cNvPr id="6" name="Textplatzhalter 24"/>
          <p:cNvSpPr txBox="1">
            <a:spLocks/>
          </p:cNvSpPr>
          <p:nvPr/>
        </p:nvSpPr>
        <p:spPr>
          <a:xfrm>
            <a:off x="-50712" y="987396"/>
            <a:ext cx="4670548" cy="529279"/>
          </a:xfrm>
          <a:prstGeom prst="rect">
            <a:avLst/>
          </a:prstGeom>
          <a:solidFill>
            <a:schemeClr val="accent5"/>
          </a:solidFill>
        </p:spPr>
        <p:txBody>
          <a:bodyPr vert="horz" wrap="square" lIns="324000" tIns="79200" rIns="252000" bIns="79200" rtlCol="0" anchor="b" anchorCtr="0">
            <a:spAutoFit/>
          </a:bodyPr>
          <a:lstStyle>
            <a:defPPr>
              <a:defRPr lang="en-US"/>
            </a:defPPr>
            <a:lvl1pPr>
              <a:spcBef>
                <a:spcPct val="0"/>
              </a:spcBef>
              <a:buNone/>
              <a:defRPr sz="3600">
                <a:solidFill>
                  <a:schemeClr val="bg1"/>
                </a:solidFill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  <a:spcAft>
                <a:spcPts val="1200"/>
              </a:spcAft>
              <a:buClr>
                <a:srgbClr val="B0BAC4"/>
              </a:buClr>
            </a:pPr>
            <a:r>
              <a:rPr lang="fr-FR" sz="2400" dirty="0">
                <a:latin typeface="TKTypeMedium" panose="020B0606040502020204" pitchFamily="34" charset="0"/>
              </a:rPr>
              <a:t>Qu’est-ce que je peux en faire ?</a:t>
            </a:r>
          </a:p>
        </p:txBody>
      </p:sp>
      <p:sp>
        <p:nvSpPr>
          <p:cNvPr id="7" name="Rechteck 6"/>
          <p:cNvSpPr/>
          <p:nvPr/>
        </p:nvSpPr>
        <p:spPr>
          <a:xfrm>
            <a:off x="407368" y="2276872"/>
            <a:ext cx="11197244" cy="25483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fr-FR" dirty="0">
                <a:solidFill>
                  <a:schemeClr val="accent5"/>
                </a:solidFill>
              </a:rPr>
              <a:t>Tu trouveras ci-dessous des suggestions d’entames de discussions d’équipe, de réunions, etc. 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fr-FR" dirty="0">
                <a:solidFill>
                  <a:schemeClr val="accent5"/>
                </a:solidFill>
              </a:rPr>
              <a:t>Ces débuts de phrase, questions ou pistes de réflexion ne prennent pas beaucoup de temps mais aident à mieux cerner l’état d’esprit, à rechercher des possibilités de soutien et à renforcer notre culture « </a:t>
            </a:r>
            <a:r>
              <a:rPr lang="fr-FR" dirty="0" err="1">
                <a:solidFill>
                  <a:schemeClr val="accent5"/>
                </a:solidFill>
              </a:rPr>
              <a:t>we</a:t>
            </a:r>
            <a:r>
              <a:rPr lang="fr-FR" dirty="0">
                <a:solidFill>
                  <a:schemeClr val="accent5"/>
                </a:solidFill>
              </a:rPr>
              <a:t> care ». </a:t>
            </a: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de-DE" dirty="0">
              <a:solidFill>
                <a:schemeClr val="accent5"/>
              </a:solidFill>
            </a:endParaRP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de-DE" dirty="0">
              <a:solidFill>
                <a:schemeClr val="accent5"/>
              </a:solidFill>
            </a:endParaRP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Tx/>
              <a:buChar char="-"/>
            </a:pPr>
            <a:r>
              <a:rPr lang="fr-FR" dirty="0">
                <a:solidFill>
                  <a:schemeClr val="accent5"/>
                </a:solidFill>
              </a:rPr>
              <a:t>Choisis une entame 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Tx/>
              <a:buChar char="-"/>
            </a:pPr>
            <a:r>
              <a:rPr lang="fr-FR" dirty="0">
                <a:solidFill>
                  <a:schemeClr val="accent5"/>
                </a:solidFill>
              </a:rPr>
              <a:t>Complète les phrases, réponds aux questions ou raconte une petite histoire 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Tx/>
              <a:buChar char="-"/>
            </a:pPr>
            <a:r>
              <a:rPr lang="fr-FR" dirty="0">
                <a:solidFill>
                  <a:schemeClr val="accent5"/>
                </a:solidFill>
              </a:rPr>
              <a:t>Prévois pour cela 2 à 3 minutes environ </a:t>
            </a:r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598802FA-1B74-4E6F-95FD-95B2CFA2B50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07368" y="5336703"/>
            <a:ext cx="762000" cy="762000"/>
            <a:chOff x="2640" y="1920"/>
            <a:chExt cx="480" cy="480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5355DF3C-4CF9-45E4-88C9-5F015EE932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40" y="1920"/>
              <a:ext cx="480" cy="480"/>
            </a:xfrm>
            <a:custGeom>
              <a:avLst/>
              <a:gdLst>
                <a:gd name="T0" fmla="*/ 818 w 1440"/>
                <a:gd name="T1" fmla="*/ 64 h 1440"/>
                <a:gd name="T2" fmla="*/ 975 w 1440"/>
                <a:gd name="T3" fmla="*/ 107 h 1440"/>
                <a:gd name="T4" fmla="*/ 1115 w 1440"/>
                <a:gd name="T5" fmla="*/ 187 h 1440"/>
                <a:gd name="T6" fmla="*/ 1212 w 1440"/>
                <a:gd name="T7" fmla="*/ 275 h 1440"/>
                <a:gd name="T8" fmla="*/ 1306 w 1440"/>
                <a:gd name="T9" fmla="*/ 408 h 1440"/>
                <a:gd name="T10" fmla="*/ 1364 w 1440"/>
                <a:gd name="T11" fmla="*/ 558 h 1440"/>
                <a:gd name="T12" fmla="*/ 1383 w 1440"/>
                <a:gd name="T13" fmla="*/ 721 h 1440"/>
                <a:gd name="T14" fmla="*/ 1371 w 1440"/>
                <a:gd name="T15" fmla="*/ 851 h 1440"/>
                <a:gd name="T16" fmla="*/ 1320 w 1440"/>
                <a:gd name="T17" fmla="*/ 1004 h 1440"/>
                <a:gd name="T18" fmla="*/ 1234 w 1440"/>
                <a:gd name="T19" fmla="*/ 1140 h 1440"/>
                <a:gd name="T20" fmla="*/ 1140 w 1440"/>
                <a:gd name="T21" fmla="*/ 1234 h 1440"/>
                <a:gd name="T22" fmla="*/ 1004 w 1440"/>
                <a:gd name="T23" fmla="*/ 1320 h 1440"/>
                <a:gd name="T24" fmla="*/ 851 w 1440"/>
                <a:gd name="T25" fmla="*/ 1371 h 1440"/>
                <a:gd name="T26" fmla="*/ 721 w 1440"/>
                <a:gd name="T27" fmla="*/ 1383 h 1440"/>
                <a:gd name="T28" fmla="*/ 558 w 1440"/>
                <a:gd name="T29" fmla="*/ 1364 h 1440"/>
                <a:gd name="T30" fmla="*/ 408 w 1440"/>
                <a:gd name="T31" fmla="*/ 1306 h 1440"/>
                <a:gd name="T32" fmla="*/ 275 w 1440"/>
                <a:gd name="T33" fmla="*/ 1212 h 1440"/>
                <a:gd name="T34" fmla="*/ 187 w 1440"/>
                <a:gd name="T35" fmla="*/ 1115 h 1440"/>
                <a:gd name="T36" fmla="*/ 107 w 1440"/>
                <a:gd name="T37" fmla="*/ 975 h 1440"/>
                <a:gd name="T38" fmla="*/ 64 w 1440"/>
                <a:gd name="T39" fmla="*/ 818 h 1440"/>
                <a:gd name="T40" fmla="*/ 58 w 1440"/>
                <a:gd name="T41" fmla="*/ 687 h 1440"/>
                <a:gd name="T42" fmla="*/ 85 w 1440"/>
                <a:gd name="T43" fmla="*/ 527 h 1440"/>
                <a:gd name="T44" fmla="*/ 150 w 1440"/>
                <a:gd name="T45" fmla="*/ 380 h 1440"/>
                <a:gd name="T46" fmla="*/ 251 w 1440"/>
                <a:gd name="T47" fmla="*/ 251 h 1440"/>
                <a:gd name="T48" fmla="*/ 353 w 1440"/>
                <a:gd name="T49" fmla="*/ 168 h 1440"/>
                <a:gd name="T50" fmla="*/ 496 w 1440"/>
                <a:gd name="T51" fmla="*/ 96 h 1440"/>
                <a:gd name="T52" fmla="*/ 654 w 1440"/>
                <a:gd name="T53" fmla="*/ 60 h 1440"/>
                <a:gd name="T54" fmla="*/ 683 w 1440"/>
                <a:gd name="T55" fmla="*/ 1 h 1440"/>
                <a:gd name="T56" fmla="*/ 506 w 1440"/>
                <a:gd name="T57" fmla="*/ 33 h 1440"/>
                <a:gd name="T58" fmla="*/ 347 w 1440"/>
                <a:gd name="T59" fmla="*/ 105 h 1440"/>
                <a:gd name="T60" fmla="*/ 211 w 1440"/>
                <a:gd name="T61" fmla="*/ 211 h 1440"/>
                <a:gd name="T62" fmla="*/ 105 w 1440"/>
                <a:gd name="T63" fmla="*/ 347 h 1440"/>
                <a:gd name="T64" fmla="*/ 33 w 1440"/>
                <a:gd name="T65" fmla="*/ 506 h 1440"/>
                <a:gd name="T66" fmla="*/ 1 w 1440"/>
                <a:gd name="T67" fmla="*/ 683 h 1440"/>
                <a:gd name="T68" fmla="*/ 8 w 1440"/>
                <a:gd name="T69" fmla="*/ 830 h 1440"/>
                <a:gd name="T70" fmla="*/ 57 w 1440"/>
                <a:gd name="T71" fmla="*/ 1001 h 1440"/>
                <a:gd name="T72" fmla="*/ 143 w 1440"/>
                <a:gd name="T73" fmla="*/ 1151 h 1440"/>
                <a:gd name="T74" fmla="*/ 262 w 1440"/>
                <a:gd name="T75" fmla="*/ 1275 h 1440"/>
                <a:gd name="T76" fmla="*/ 408 w 1440"/>
                <a:gd name="T77" fmla="*/ 1369 h 1440"/>
                <a:gd name="T78" fmla="*/ 575 w 1440"/>
                <a:gd name="T79" fmla="*/ 1426 h 1440"/>
                <a:gd name="T80" fmla="*/ 721 w 1440"/>
                <a:gd name="T81" fmla="*/ 1440 h 1440"/>
                <a:gd name="T82" fmla="*/ 900 w 1440"/>
                <a:gd name="T83" fmla="*/ 1418 h 1440"/>
                <a:gd name="T84" fmla="*/ 1063 w 1440"/>
                <a:gd name="T85" fmla="*/ 1354 h 1440"/>
                <a:gd name="T86" fmla="*/ 1204 w 1440"/>
                <a:gd name="T87" fmla="*/ 1253 h 1440"/>
                <a:gd name="T88" fmla="*/ 1317 w 1440"/>
                <a:gd name="T89" fmla="*/ 1123 h 1440"/>
                <a:gd name="T90" fmla="*/ 1396 w 1440"/>
                <a:gd name="T91" fmla="*/ 967 h 1440"/>
                <a:gd name="T92" fmla="*/ 1437 w 1440"/>
                <a:gd name="T93" fmla="*/ 794 h 1440"/>
                <a:gd name="T94" fmla="*/ 1437 w 1440"/>
                <a:gd name="T95" fmla="*/ 646 h 1440"/>
                <a:gd name="T96" fmla="*/ 1396 w 1440"/>
                <a:gd name="T97" fmla="*/ 473 h 1440"/>
                <a:gd name="T98" fmla="*/ 1317 w 1440"/>
                <a:gd name="T99" fmla="*/ 317 h 1440"/>
                <a:gd name="T100" fmla="*/ 1204 w 1440"/>
                <a:gd name="T101" fmla="*/ 187 h 1440"/>
                <a:gd name="T102" fmla="*/ 1063 w 1440"/>
                <a:gd name="T103" fmla="*/ 87 h 1440"/>
                <a:gd name="T104" fmla="*/ 900 w 1440"/>
                <a:gd name="T105" fmla="*/ 22 h 1440"/>
                <a:gd name="T106" fmla="*/ 721 w 1440"/>
                <a:gd name="T107" fmla="*/ 0 h 1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440" h="1440">
                  <a:moveTo>
                    <a:pt x="721" y="57"/>
                  </a:moveTo>
                  <a:lnTo>
                    <a:pt x="721" y="57"/>
                  </a:lnTo>
                  <a:lnTo>
                    <a:pt x="753" y="58"/>
                  </a:lnTo>
                  <a:lnTo>
                    <a:pt x="786" y="60"/>
                  </a:lnTo>
                  <a:lnTo>
                    <a:pt x="818" y="64"/>
                  </a:lnTo>
                  <a:lnTo>
                    <a:pt x="851" y="70"/>
                  </a:lnTo>
                  <a:lnTo>
                    <a:pt x="882" y="77"/>
                  </a:lnTo>
                  <a:lnTo>
                    <a:pt x="914" y="85"/>
                  </a:lnTo>
                  <a:lnTo>
                    <a:pt x="944" y="96"/>
                  </a:lnTo>
                  <a:lnTo>
                    <a:pt x="975" y="107"/>
                  </a:lnTo>
                  <a:lnTo>
                    <a:pt x="1004" y="120"/>
                  </a:lnTo>
                  <a:lnTo>
                    <a:pt x="1032" y="135"/>
                  </a:lnTo>
                  <a:lnTo>
                    <a:pt x="1061" y="150"/>
                  </a:lnTo>
                  <a:lnTo>
                    <a:pt x="1088" y="168"/>
                  </a:lnTo>
                  <a:lnTo>
                    <a:pt x="1115" y="187"/>
                  </a:lnTo>
                  <a:lnTo>
                    <a:pt x="1140" y="207"/>
                  </a:lnTo>
                  <a:lnTo>
                    <a:pt x="1166" y="229"/>
                  </a:lnTo>
                  <a:lnTo>
                    <a:pt x="1189" y="251"/>
                  </a:lnTo>
                  <a:lnTo>
                    <a:pt x="1189" y="251"/>
                  </a:lnTo>
                  <a:lnTo>
                    <a:pt x="1212" y="275"/>
                  </a:lnTo>
                  <a:lnTo>
                    <a:pt x="1234" y="300"/>
                  </a:lnTo>
                  <a:lnTo>
                    <a:pt x="1254" y="326"/>
                  </a:lnTo>
                  <a:lnTo>
                    <a:pt x="1272" y="353"/>
                  </a:lnTo>
                  <a:lnTo>
                    <a:pt x="1290" y="380"/>
                  </a:lnTo>
                  <a:lnTo>
                    <a:pt x="1306" y="408"/>
                  </a:lnTo>
                  <a:lnTo>
                    <a:pt x="1320" y="437"/>
                  </a:lnTo>
                  <a:lnTo>
                    <a:pt x="1333" y="466"/>
                  </a:lnTo>
                  <a:lnTo>
                    <a:pt x="1344" y="496"/>
                  </a:lnTo>
                  <a:lnTo>
                    <a:pt x="1355" y="527"/>
                  </a:lnTo>
                  <a:lnTo>
                    <a:pt x="1364" y="558"/>
                  </a:lnTo>
                  <a:lnTo>
                    <a:pt x="1371" y="589"/>
                  </a:lnTo>
                  <a:lnTo>
                    <a:pt x="1376" y="622"/>
                  </a:lnTo>
                  <a:lnTo>
                    <a:pt x="1380" y="654"/>
                  </a:lnTo>
                  <a:lnTo>
                    <a:pt x="1383" y="687"/>
                  </a:lnTo>
                  <a:lnTo>
                    <a:pt x="1383" y="721"/>
                  </a:lnTo>
                  <a:lnTo>
                    <a:pt x="1383" y="721"/>
                  </a:lnTo>
                  <a:lnTo>
                    <a:pt x="1383" y="753"/>
                  </a:lnTo>
                  <a:lnTo>
                    <a:pt x="1380" y="786"/>
                  </a:lnTo>
                  <a:lnTo>
                    <a:pt x="1376" y="818"/>
                  </a:lnTo>
                  <a:lnTo>
                    <a:pt x="1371" y="851"/>
                  </a:lnTo>
                  <a:lnTo>
                    <a:pt x="1364" y="882"/>
                  </a:lnTo>
                  <a:lnTo>
                    <a:pt x="1355" y="914"/>
                  </a:lnTo>
                  <a:lnTo>
                    <a:pt x="1344" y="944"/>
                  </a:lnTo>
                  <a:lnTo>
                    <a:pt x="1333" y="975"/>
                  </a:lnTo>
                  <a:lnTo>
                    <a:pt x="1320" y="1004"/>
                  </a:lnTo>
                  <a:lnTo>
                    <a:pt x="1306" y="1032"/>
                  </a:lnTo>
                  <a:lnTo>
                    <a:pt x="1290" y="1061"/>
                  </a:lnTo>
                  <a:lnTo>
                    <a:pt x="1272" y="1088"/>
                  </a:lnTo>
                  <a:lnTo>
                    <a:pt x="1254" y="1115"/>
                  </a:lnTo>
                  <a:lnTo>
                    <a:pt x="1234" y="1140"/>
                  </a:lnTo>
                  <a:lnTo>
                    <a:pt x="1212" y="1166"/>
                  </a:lnTo>
                  <a:lnTo>
                    <a:pt x="1189" y="1189"/>
                  </a:lnTo>
                  <a:lnTo>
                    <a:pt x="1189" y="1189"/>
                  </a:lnTo>
                  <a:lnTo>
                    <a:pt x="1166" y="1212"/>
                  </a:lnTo>
                  <a:lnTo>
                    <a:pt x="1140" y="1234"/>
                  </a:lnTo>
                  <a:lnTo>
                    <a:pt x="1115" y="1254"/>
                  </a:lnTo>
                  <a:lnTo>
                    <a:pt x="1088" y="1272"/>
                  </a:lnTo>
                  <a:lnTo>
                    <a:pt x="1061" y="1290"/>
                  </a:lnTo>
                  <a:lnTo>
                    <a:pt x="1032" y="1306"/>
                  </a:lnTo>
                  <a:lnTo>
                    <a:pt x="1004" y="1320"/>
                  </a:lnTo>
                  <a:lnTo>
                    <a:pt x="975" y="1333"/>
                  </a:lnTo>
                  <a:lnTo>
                    <a:pt x="944" y="1344"/>
                  </a:lnTo>
                  <a:lnTo>
                    <a:pt x="914" y="1355"/>
                  </a:lnTo>
                  <a:lnTo>
                    <a:pt x="882" y="1364"/>
                  </a:lnTo>
                  <a:lnTo>
                    <a:pt x="851" y="1371"/>
                  </a:lnTo>
                  <a:lnTo>
                    <a:pt x="818" y="1376"/>
                  </a:lnTo>
                  <a:lnTo>
                    <a:pt x="786" y="1380"/>
                  </a:lnTo>
                  <a:lnTo>
                    <a:pt x="753" y="1383"/>
                  </a:lnTo>
                  <a:lnTo>
                    <a:pt x="721" y="1383"/>
                  </a:lnTo>
                  <a:lnTo>
                    <a:pt x="721" y="1383"/>
                  </a:lnTo>
                  <a:lnTo>
                    <a:pt x="687" y="1383"/>
                  </a:lnTo>
                  <a:lnTo>
                    <a:pt x="654" y="1380"/>
                  </a:lnTo>
                  <a:lnTo>
                    <a:pt x="622" y="1376"/>
                  </a:lnTo>
                  <a:lnTo>
                    <a:pt x="589" y="1371"/>
                  </a:lnTo>
                  <a:lnTo>
                    <a:pt x="558" y="1364"/>
                  </a:lnTo>
                  <a:lnTo>
                    <a:pt x="527" y="1355"/>
                  </a:lnTo>
                  <a:lnTo>
                    <a:pt x="496" y="1344"/>
                  </a:lnTo>
                  <a:lnTo>
                    <a:pt x="466" y="1333"/>
                  </a:lnTo>
                  <a:lnTo>
                    <a:pt x="437" y="1320"/>
                  </a:lnTo>
                  <a:lnTo>
                    <a:pt x="408" y="1306"/>
                  </a:lnTo>
                  <a:lnTo>
                    <a:pt x="380" y="1290"/>
                  </a:lnTo>
                  <a:lnTo>
                    <a:pt x="353" y="1272"/>
                  </a:lnTo>
                  <a:lnTo>
                    <a:pt x="326" y="1254"/>
                  </a:lnTo>
                  <a:lnTo>
                    <a:pt x="300" y="1234"/>
                  </a:lnTo>
                  <a:lnTo>
                    <a:pt x="275" y="1212"/>
                  </a:lnTo>
                  <a:lnTo>
                    <a:pt x="251" y="1189"/>
                  </a:lnTo>
                  <a:lnTo>
                    <a:pt x="251" y="1189"/>
                  </a:lnTo>
                  <a:lnTo>
                    <a:pt x="229" y="1166"/>
                  </a:lnTo>
                  <a:lnTo>
                    <a:pt x="207" y="1140"/>
                  </a:lnTo>
                  <a:lnTo>
                    <a:pt x="187" y="1115"/>
                  </a:lnTo>
                  <a:lnTo>
                    <a:pt x="168" y="1088"/>
                  </a:lnTo>
                  <a:lnTo>
                    <a:pt x="150" y="1061"/>
                  </a:lnTo>
                  <a:lnTo>
                    <a:pt x="135" y="1032"/>
                  </a:lnTo>
                  <a:lnTo>
                    <a:pt x="120" y="1004"/>
                  </a:lnTo>
                  <a:lnTo>
                    <a:pt x="107" y="975"/>
                  </a:lnTo>
                  <a:lnTo>
                    <a:pt x="96" y="944"/>
                  </a:lnTo>
                  <a:lnTo>
                    <a:pt x="85" y="914"/>
                  </a:lnTo>
                  <a:lnTo>
                    <a:pt x="77" y="882"/>
                  </a:lnTo>
                  <a:lnTo>
                    <a:pt x="70" y="851"/>
                  </a:lnTo>
                  <a:lnTo>
                    <a:pt x="64" y="818"/>
                  </a:lnTo>
                  <a:lnTo>
                    <a:pt x="60" y="786"/>
                  </a:lnTo>
                  <a:lnTo>
                    <a:pt x="58" y="753"/>
                  </a:lnTo>
                  <a:lnTo>
                    <a:pt x="57" y="721"/>
                  </a:lnTo>
                  <a:lnTo>
                    <a:pt x="57" y="721"/>
                  </a:lnTo>
                  <a:lnTo>
                    <a:pt x="58" y="687"/>
                  </a:lnTo>
                  <a:lnTo>
                    <a:pt x="60" y="654"/>
                  </a:lnTo>
                  <a:lnTo>
                    <a:pt x="64" y="622"/>
                  </a:lnTo>
                  <a:lnTo>
                    <a:pt x="70" y="589"/>
                  </a:lnTo>
                  <a:lnTo>
                    <a:pt x="77" y="558"/>
                  </a:lnTo>
                  <a:lnTo>
                    <a:pt x="85" y="527"/>
                  </a:lnTo>
                  <a:lnTo>
                    <a:pt x="96" y="496"/>
                  </a:lnTo>
                  <a:lnTo>
                    <a:pt x="107" y="466"/>
                  </a:lnTo>
                  <a:lnTo>
                    <a:pt x="120" y="437"/>
                  </a:lnTo>
                  <a:lnTo>
                    <a:pt x="135" y="408"/>
                  </a:lnTo>
                  <a:lnTo>
                    <a:pt x="150" y="380"/>
                  </a:lnTo>
                  <a:lnTo>
                    <a:pt x="168" y="353"/>
                  </a:lnTo>
                  <a:lnTo>
                    <a:pt x="187" y="326"/>
                  </a:lnTo>
                  <a:lnTo>
                    <a:pt x="207" y="300"/>
                  </a:lnTo>
                  <a:lnTo>
                    <a:pt x="229" y="275"/>
                  </a:lnTo>
                  <a:lnTo>
                    <a:pt x="251" y="251"/>
                  </a:lnTo>
                  <a:lnTo>
                    <a:pt x="251" y="251"/>
                  </a:lnTo>
                  <a:lnTo>
                    <a:pt x="275" y="229"/>
                  </a:lnTo>
                  <a:lnTo>
                    <a:pt x="300" y="207"/>
                  </a:lnTo>
                  <a:lnTo>
                    <a:pt x="326" y="187"/>
                  </a:lnTo>
                  <a:lnTo>
                    <a:pt x="353" y="168"/>
                  </a:lnTo>
                  <a:lnTo>
                    <a:pt x="380" y="150"/>
                  </a:lnTo>
                  <a:lnTo>
                    <a:pt x="408" y="135"/>
                  </a:lnTo>
                  <a:lnTo>
                    <a:pt x="437" y="120"/>
                  </a:lnTo>
                  <a:lnTo>
                    <a:pt x="466" y="107"/>
                  </a:lnTo>
                  <a:lnTo>
                    <a:pt x="496" y="96"/>
                  </a:lnTo>
                  <a:lnTo>
                    <a:pt x="527" y="85"/>
                  </a:lnTo>
                  <a:lnTo>
                    <a:pt x="558" y="77"/>
                  </a:lnTo>
                  <a:lnTo>
                    <a:pt x="589" y="70"/>
                  </a:lnTo>
                  <a:lnTo>
                    <a:pt x="622" y="64"/>
                  </a:lnTo>
                  <a:lnTo>
                    <a:pt x="654" y="60"/>
                  </a:lnTo>
                  <a:lnTo>
                    <a:pt x="687" y="58"/>
                  </a:lnTo>
                  <a:lnTo>
                    <a:pt x="721" y="57"/>
                  </a:lnTo>
                  <a:close/>
                  <a:moveTo>
                    <a:pt x="721" y="0"/>
                  </a:moveTo>
                  <a:lnTo>
                    <a:pt x="721" y="0"/>
                  </a:lnTo>
                  <a:lnTo>
                    <a:pt x="683" y="1"/>
                  </a:lnTo>
                  <a:lnTo>
                    <a:pt x="646" y="4"/>
                  </a:lnTo>
                  <a:lnTo>
                    <a:pt x="611" y="8"/>
                  </a:lnTo>
                  <a:lnTo>
                    <a:pt x="575" y="14"/>
                  </a:lnTo>
                  <a:lnTo>
                    <a:pt x="541" y="22"/>
                  </a:lnTo>
                  <a:lnTo>
                    <a:pt x="506" y="33"/>
                  </a:lnTo>
                  <a:lnTo>
                    <a:pt x="473" y="44"/>
                  </a:lnTo>
                  <a:lnTo>
                    <a:pt x="440" y="57"/>
                  </a:lnTo>
                  <a:lnTo>
                    <a:pt x="408" y="71"/>
                  </a:lnTo>
                  <a:lnTo>
                    <a:pt x="377" y="87"/>
                  </a:lnTo>
                  <a:lnTo>
                    <a:pt x="347" y="105"/>
                  </a:lnTo>
                  <a:lnTo>
                    <a:pt x="317" y="123"/>
                  </a:lnTo>
                  <a:lnTo>
                    <a:pt x="290" y="143"/>
                  </a:lnTo>
                  <a:lnTo>
                    <a:pt x="262" y="165"/>
                  </a:lnTo>
                  <a:lnTo>
                    <a:pt x="236" y="187"/>
                  </a:lnTo>
                  <a:lnTo>
                    <a:pt x="211" y="211"/>
                  </a:lnTo>
                  <a:lnTo>
                    <a:pt x="187" y="236"/>
                  </a:lnTo>
                  <a:lnTo>
                    <a:pt x="165" y="262"/>
                  </a:lnTo>
                  <a:lnTo>
                    <a:pt x="143" y="290"/>
                  </a:lnTo>
                  <a:lnTo>
                    <a:pt x="123" y="317"/>
                  </a:lnTo>
                  <a:lnTo>
                    <a:pt x="105" y="347"/>
                  </a:lnTo>
                  <a:lnTo>
                    <a:pt x="87" y="377"/>
                  </a:lnTo>
                  <a:lnTo>
                    <a:pt x="71" y="408"/>
                  </a:lnTo>
                  <a:lnTo>
                    <a:pt x="57" y="440"/>
                  </a:lnTo>
                  <a:lnTo>
                    <a:pt x="44" y="473"/>
                  </a:lnTo>
                  <a:lnTo>
                    <a:pt x="33" y="506"/>
                  </a:lnTo>
                  <a:lnTo>
                    <a:pt x="22" y="541"/>
                  </a:lnTo>
                  <a:lnTo>
                    <a:pt x="14" y="575"/>
                  </a:lnTo>
                  <a:lnTo>
                    <a:pt x="8" y="611"/>
                  </a:lnTo>
                  <a:lnTo>
                    <a:pt x="4" y="646"/>
                  </a:lnTo>
                  <a:lnTo>
                    <a:pt x="1" y="683"/>
                  </a:lnTo>
                  <a:lnTo>
                    <a:pt x="0" y="721"/>
                  </a:lnTo>
                  <a:lnTo>
                    <a:pt x="0" y="721"/>
                  </a:lnTo>
                  <a:lnTo>
                    <a:pt x="1" y="757"/>
                  </a:lnTo>
                  <a:lnTo>
                    <a:pt x="4" y="794"/>
                  </a:lnTo>
                  <a:lnTo>
                    <a:pt x="8" y="830"/>
                  </a:lnTo>
                  <a:lnTo>
                    <a:pt x="14" y="865"/>
                  </a:lnTo>
                  <a:lnTo>
                    <a:pt x="22" y="900"/>
                  </a:lnTo>
                  <a:lnTo>
                    <a:pt x="33" y="934"/>
                  </a:lnTo>
                  <a:lnTo>
                    <a:pt x="44" y="967"/>
                  </a:lnTo>
                  <a:lnTo>
                    <a:pt x="57" y="1001"/>
                  </a:lnTo>
                  <a:lnTo>
                    <a:pt x="71" y="1032"/>
                  </a:lnTo>
                  <a:lnTo>
                    <a:pt x="87" y="1063"/>
                  </a:lnTo>
                  <a:lnTo>
                    <a:pt x="105" y="1093"/>
                  </a:lnTo>
                  <a:lnTo>
                    <a:pt x="123" y="1123"/>
                  </a:lnTo>
                  <a:lnTo>
                    <a:pt x="143" y="1151"/>
                  </a:lnTo>
                  <a:lnTo>
                    <a:pt x="165" y="1178"/>
                  </a:lnTo>
                  <a:lnTo>
                    <a:pt x="187" y="1204"/>
                  </a:lnTo>
                  <a:lnTo>
                    <a:pt x="211" y="1230"/>
                  </a:lnTo>
                  <a:lnTo>
                    <a:pt x="236" y="1253"/>
                  </a:lnTo>
                  <a:lnTo>
                    <a:pt x="262" y="1275"/>
                  </a:lnTo>
                  <a:lnTo>
                    <a:pt x="290" y="1298"/>
                  </a:lnTo>
                  <a:lnTo>
                    <a:pt x="317" y="1317"/>
                  </a:lnTo>
                  <a:lnTo>
                    <a:pt x="347" y="1336"/>
                  </a:lnTo>
                  <a:lnTo>
                    <a:pt x="377" y="1354"/>
                  </a:lnTo>
                  <a:lnTo>
                    <a:pt x="408" y="1369"/>
                  </a:lnTo>
                  <a:lnTo>
                    <a:pt x="440" y="1384"/>
                  </a:lnTo>
                  <a:lnTo>
                    <a:pt x="473" y="1396"/>
                  </a:lnTo>
                  <a:lnTo>
                    <a:pt x="506" y="1407"/>
                  </a:lnTo>
                  <a:lnTo>
                    <a:pt x="541" y="1418"/>
                  </a:lnTo>
                  <a:lnTo>
                    <a:pt x="575" y="1426"/>
                  </a:lnTo>
                  <a:lnTo>
                    <a:pt x="611" y="1432"/>
                  </a:lnTo>
                  <a:lnTo>
                    <a:pt x="646" y="1437"/>
                  </a:lnTo>
                  <a:lnTo>
                    <a:pt x="683" y="1439"/>
                  </a:lnTo>
                  <a:lnTo>
                    <a:pt x="721" y="1440"/>
                  </a:lnTo>
                  <a:lnTo>
                    <a:pt x="721" y="1440"/>
                  </a:lnTo>
                  <a:lnTo>
                    <a:pt x="757" y="1439"/>
                  </a:lnTo>
                  <a:lnTo>
                    <a:pt x="794" y="1437"/>
                  </a:lnTo>
                  <a:lnTo>
                    <a:pt x="830" y="1432"/>
                  </a:lnTo>
                  <a:lnTo>
                    <a:pt x="865" y="1426"/>
                  </a:lnTo>
                  <a:lnTo>
                    <a:pt x="900" y="1418"/>
                  </a:lnTo>
                  <a:lnTo>
                    <a:pt x="934" y="1407"/>
                  </a:lnTo>
                  <a:lnTo>
                    <a:pt x="967" y="1396"/>
                  </a:lnTo>
                  <a:lnTo>
                    <a:pt x="1001" y="1384"/>
                  </a:lnTo>
                  <a:lnTo>
                    <a:pt x="1032" y="1369"/>
                  </a:lnTo>
                  <a:lnTo>
                    <a:pt x="1063" y="1354"/>
                  </a:lnTo>
                  <a:lnTo>
                    <a:pt x="1093" y="1336"/>
                  </a:lnTo>
                  <a:lnTo>
                    <a:pt x="1123" y="1317"/>
                  </a:lnTo>
                  <a:lnTo>
                    <a:pt x="1151" y="1298"/>
                  </a:lnTo>
                  <a:lnTo>
                    <a:pt x="1178" y="1275"/>
                  </a:lnTo>
                  <a:lnTo>
                    <a:pt x="1204" y="1253"/>
                  </a:lnTo>
                  <a:lnTo>
                    <a:pt x="1230" y="1230"/>
                  </a:lnTo>
                  <a:lnTo>
                    <a:pt x="1253" y="1204"/>
                  </a:lnTo>
                  <a:lnTo>
                    <a:pt x="1275" y="1178"/>
                  </a:lnTo>
                  <a:lnTo>
                    <a:pt x="1298" y="1151"/>
                  </a:lnTo>
                  <a:lnTo>
                    <a:pt x="1317" y="1123"/>
                  </a:lnTo>
                  <a:lnTo>
                    <a:pt x="1336" y="1093"/>
                  </a:lnTo>
                  <a:lnTo>
                    <a:pt x="1354" y="1063"/>
                  </a:lnTo>
                  <a:lnTo>
                    <a:pt x="1369" y="1032"/>
                  </a:lnTo>
                  <a:lnTo>
                    <a:pt x="1384" y="1001"/>
                  </a:lnTo>
                  <a:lnTo>
                    <a:pt x="1396" y="967"/>
                  </a:lnTo>
                  <a:lnTo>
                    <a:pt x="1407" y="934"/>
                  </a:lnTo>
                  <a:lnTo>
                    <a:pt x="1418" y="900"/>
                  </a:lnTo>
                  <a:lnTo>
                    <a:pt x="1426" y="865"/>
                  </a:lnTo>
                  <a:lnTo>
                    <a:pt x="1432" y="830"/>
                  </a:lnTo>
                  <a:lnTo>
                    <a:pt x="1437" y="794"/>
                  </a:lnTo>
                  <a:lnTo>
                    <a:pt x="1439" y="757"/>
                  </a:lnTo>
                  <a:lnTo>
                    <a:pt x="1440" y="721"/>
                  </a:lnTo>
                  <a:lnTo>
                    <a:pt x="1440" y="721"/>
                  </a:lnTo>
                  <a:lnTo>
                    <a:pt x="1439" y="683"/>
                  </a:lnTo>
                  <a:lnTo>
                    <a:pt x="1437" y="646"/>
                  </a:lnTo>
                  <a:lnTo>
                    <a:pt x="1432" y="611"/>
                  </a:lnTo>
                  <a:lnTo>
                    <a:pt x="1426" y="575"/>
                  </a:lnTo>
                  <a:lnTo>
                    <a:pt x="1418" y="541"/>
                  </a:lnTo>
                  <a:lnTo>
                    <a:pt x="1407" y="506"/>
                  </a:lnTo>
                  <a:lnTo>
                    <a:pt x="1396" y="473"/>
                  </a:lnTo>
                  <a:lnTo>
                    <a:pt x="1384" y="440"/>
                  </a:lnTo>
                  <a:lnTo>
                    <a:pt x="1369" y="408"/>
                  </a:lnTo>
                  <a:lnTo>
                    <a:pt x="1354" y="377"/>
                  </a:lnTo>
                  <a:lnTo>
                    <a:pt x="1336" y="347"/>
                  </a:lnTo>
                  <a:lnTo>
                    <a:pt x="1317" y="317"/>
                  </a:lnTo>
                  <a:lnTo>
                    <a:pt x="1298" y="290"/>
                  </a:lnTo>
                  <a:lnTo>
                    <a:pt x="1275" y="262"/>
                  </a:lnTo>
                  <a:lnTo>
                    <a:pt x="1253" y="236"/>
                  </a:lnTo>
                  <a:lnTo>
                    <a:pt x="1230" y="211"/>
                  </a:lnTo>
                  <a:lnTo>
                    <a:pt x="1204" y="187"/>
                  </a:lnTo>
                  <a:lnTo>
                    <a:pt x="1178" y="165"/>
                  </a:lnTo>
                  <a:lnTo>
                    <a:pt x="1151" y="143"/>
                  </a:lnTo>
                  <a:lnTo>
                    <a:pt x="1123" y="123"/>
                  </a:lnTo>
                  <a:lnTo>
                    <a:pt x="1093" y="105"/>
                  </a:lnTo>
                  <a:lnTo>
                    <a:pt x="1063" y="87"/>
                  </a:lnTo>
                  <a:lnTo>
                    <a:pt x="1032" y="71"/>
                  </a:lnTo>
                  <a:lnTo>
                    <a:pt x="1001" y="57"/>
                  </a:lnTo>
                  <a:lnTo>
                    <a:pt x="967" y="44"/>
                  </a:lnTo>
                  <a:lnTo>
                    <a:pt x="934" y="33"/>
                  </a:lnTo>
                  <a:lnTo>
                    <a:pt x="900" y="22"/>
                  </a:lnTo>
                  <a:lnTo>
                    <a:pt x="865" y="14"/>
                  </a:lnTo>
                  <a:lnTo>
                    <a:pt x="830" y="8"/>
                  </a:lnTo>
                  <a:lnTo>
                    <a:pt x="794" y="4"/>
                  </a:lnTo>
                  <a:lnTo>
                    <a:pt x="757" y="1"/>
                  </a:lnTo>
                  <a:lnTo>
                    <a:pt x="721" y="0"/>
                  </a:lnTo>
                  <a:lnTo>
                    <a:pt x="721" y="0"/>
                  </a:lnTo>
                  <a:close/>
                </a:path>
              </a:pathLst>
            </a:custGeom>
            <a:solidFill>
              <a:srgbClr val="00A0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45FBE418-6128-4F82-9229-908ABF072A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9" y="1939"/>
              <a:ext cx="442" cy="442"/>
            </a:xfrm>
            <a:custGeom>
              <a:avLst/>
              <a:gdLst>
                <a:gd name="T0" fmla="*/ 696 w 1326"/>
                <a:gd name="T1" fmla="*/ 1 h 1326"/>
                <a:gd name="T2" fmla="*/ 794 w 1326"/>
                <a:gd name="T3" fmla="*/ 13 h 1326"/>
                <a:gd name="T4" fmla="*/ 887 w 1326"/>
                <a:gd name="T5" fmla="*/ 39 h 1326"/>
                <a:gd name="T6" fmla="*/ 975 w 1326"/>
                <a:gd name="T7" fmla="*/ 78 h 1326"/>
                <a:gd name="T8" fmla="*/ 1058 w 1326"/>
                <a:gd name="T9" fmla="*/ 130 h 1326"/>
                <a:gd name="T10" fmla="*/ 1132 w 1326"/>
                <a:gd name="T11" fmla="*/ 194 h 1326"/>
                <a:gd name="T12" fmla="*/ 1177 w 1326"/>
                <a:gd name="T13" fmla="*/ 243 h 1326"/>
                <a:gd name="T14" fmla="*/ 1233 w 1326"/>
                <a:gd name="T15" fmla="*/ 323 h 1326"/>
                <a:gd name="T16" fmla="*/ 1276 w 1326"/>
                <a:gd name="T17" fmla="*/ 409 h 1326"/>
                <a:gd name="T18" fmla="*/ 1307 w 1326"/>
                <a:gd name="T19" fmla="*/ 501 h 1326"/>
                <a:gd name="T20" fmla="*/ 1323 w 1326"/>
                <a:gd name="T21" fmla="*/ 597 h 1326"/>
                <a:gd name="T22" fmla="*/ 1326 w 1326"/>
                <a:gd name="T23" fmla="*/ 664 h 1326"/>
                <a:gd name="T24" fmla="*/ 1319 w 1326"/>
                <a:gd name="T25" fmla="*/ 761 h 1326"/>
                <a:gd name="T26" fmla="*/ 1298 w 1326"/>
                <a:gd name="T27" fmla="*/ 857 h 1326"/>
                <a:gd name="T28" fmla="*/ 1263 w 1326"/>
                <a:gd name="T29" fmla="*/ 947 h 1326"/>
                <a:gd name="T30" fmla="*/ 1215 w 1326"/>
                <a:gd name="T31" fmla="*/ 1031 h 1326"/>
                <a:gd name="T32" fmla="*/ 1155 w 1326"/>
                <a:gd name="T33" fmla="*/ 1109 h 1326"/>
                <a:gd name="T34" fmla="*/ 1109 w 1326"/>
                <a:gd name="T35" fmla="*/ 1155 h 1326"/>
                <a:gd name="T36" fmla="*/ 1031 w 1326"/>
                <a:gd name="T37" fmla="*/ 1215 h 1326"/>
                <a:gd name="T38" fmla="*/ 947 w 1326"/>
                <a:gd name="T39" fmla="*/ 1263 h 1326"/>
                <a:gd name="T40" fmla="*/ 857 w 1326"/>
                <a:gd name="T41" fmla="*/ 1298 h 1326"/>
                <a:gd name="T42" fmla="*/ 761 w 1326"/>
                <a:gd name="T43" fmla="*/ 1319 h 1326"/>
                <a:gd name="T44" fmla="*/ 664 w 1326"/>
                <a:gd name="T45" fmla="*/ 1326 h 1326"/>
                <a:gd name="T46" fmla="*/ 597 w 1326"/>
                <a:gd name="T47" fmla="*/ 1323 h 1326"/>
                <a:gd name="T48" fmla="*/ 501 w 1326"/>
                <a:gd name="T49" fmla="*/ 1307 h 1326"/>
                <a:gd name="T50" fmla="*/ 409 w 1326"/>
                <a:gd name="T51" fmla="*/ 1276 h 1326"/>
                <a:gd name="T52" fmla="*/ 323 w 1326"/>
                <a:gd name="T53" fmla="*/ 1233 h 1326"/>
                <a:gd name="T54" fmla="*/ 243 w 1326"/>
                <a:gd name="T55" fmla="*/ 1177 h 1326"/>
                <a:gd name="T56" fmla="*/ 194 w 1326"/>
                <a:gd name="T57" fmla="*/ 1132 h 1326"/>
                <a:gd name="T58" fmla="*/ 130 w 1326"/>
                <a:gd name="T59" fmla="*/ 1058 h 1326"/>
                <a:gd name="T60" fmla="*/ 78 w 1326"/>
                <a:gd name="T61" fmla="*/ 975 h 1326"/>
                <a:gd name="T62" fmla="*/ 39 w 1326"/>
                <a:gd name="T63" fmla="*/ 887 h 1326"/>
                <a:gd name="T64" fmla="*/ 13 w 1326"/>
                <a:gd name="T65" fmla="*/ 794 h 1326"/>
                <a:gd name="T66" fmla="*/ 1 w 1326"/>
                <a:gd name="T67" fmla="*/ 696 h 1326"/>
                <a:gd name="T68" fmla="*/ 1 w 1326"/>
                <a:gd name="T69" fmla="*/ 630 h 1326"/>
                <a:gd name="T70" fmla="*/ 13 w 1326"/>
                <a:gd name="T71" fmla="*/ 532 h 1326"/>
                <a:gd name="T72" fmla="*/ 39 w 1326"/>
                <a:gd name="T73" fmla="*/ 439 h 1326"/>
                <a:gd name="T74" fmla="*/ 78 w 1326"/>
                <a:gd name="T75" fmla="*/ 351 h 1326"/>
                <a:gd name="T76" fmla="*/ 130 w 1326"/>
                <a:gd name="T77" fmla="*/ 269 h 1326"/>
                <a:gd name="T78" fmla="*/ 194 w 1326"/>
                <a:gd name="T79" fmla="*/ 194 h 1326"/>
                <a:gd name="T80" fmla="*/ 243 w 1326"/>
                <a:gd name="T81" fmla="*/ 150 h 1326"/>
                <a:gd name="T82" fmla="*/ 323 w 1326"/>
                <a:gd name="T83" fmla="*/ 93 h 1326"/>
                <a:gd name="T84" fmla="*/ 409 w 1326"/>
                <a:gd name="T85" fmla="*/ 50 h 1326"/>
                <a:gd name="T86" fmla="*/ 501 w 1326"/>
                <a:gd name="T87" fmla="*/ 20 h 1326"/>
                <a:gd name="T88" fmla="*/ 597 w 1326"/>
                <a:gd name="T89" fmla="*/ 3 h 1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326" h="1326">
                  <a:moveTo>
                    <a:pt x="664" y="0"/>
                  </a:moveTo>
                  <a:lnTo>
                    <a:pt x="664" y="0"/>
                  </a:lnTo>
                  <a:lnTo>
                    <a:pt x="696" y="1"/>
                  </a:lnTo>
                  <a:lnTo>
                    <a:pt x="729" y="3"/>
                  </a:lnTo>
                  <a:lnTo>
                    <a:pt x="761" y="7"/>
                  </a:lnTo>
                  <a:lnTo>
                    <a:pt x="794" y="13"/>
                  </a:lnTo>
                  <a:lnTo>
                    <a:pt x="825" y="20"/>
                  </a:lnTo>
                  <a:lnTo>
                    <a:pt x="857" y="28"/>
                  </a:lnTo>
                  <a:lnTo>
                    <a:pt x="887" y="39"/>
                  </a:lnTo>
                  <a:lnTo>
                    <a:pt x="918" y="50"/>
                  </a:lnTo>
                  <a:lnTo>
                    <a:pt x="947" y="63"/>
                  </a:lnTo>
                  <a:lnTo>
                    <a:pt x="975" y="78"/>
                  </a:lnTo>
                  <a:lnTo>
                    <a:pt x="1004" y="93"/>
                  </a:lnTo>
                  <a:lnTo>
                    <a:pt x="1031" y="111"/>
                  </a:lnTo>
                  <a:lnTo>
                    <a:pt x="1058" y="130"/>
                  </a:lnTo>
                  <a:lnTo>
                    <a:pt x="1083" y="150"/>
                  </a:lnTo>
                  <a:lnTo>
                    <a:pt x="1109" y="172"/>
                  </a:lnTo>
                  <a:lnTo>
                    <a:pt x="1132" y="194"/>
                  </a:lnTo>
                  <a:lnTo>
                    <a:pt x="1132" y="194"/>
                  </a:lnTo>
                  <a:lnTo>
                    <a:pt x="1155" y="218"/>
                  </a:lnTo>
                  <a:lnTo>
                    <a:pt x="1177" y="243"/>
                  </a:lnTo>
                  <a:lnTo>
                    <a:pt x="1197" y="269"/>
                  </a:lnTo>
                  <a:lnTo>
                    <a:pt x="1215" y="296"/>
                  </a:lnTo>
                  <a:lnTo>
                    <a:pt x="1233" y="323"/>
                  </a:lnTo>
                  <a:lnTo>
                    <a:pt x="1249" y="351"/>
                  </a:lnTo>
                  <a:lnTo>
                    <a:pt x="1263" y="380"/>
                  </a:lnTo>
                  <a:lnTo>
                    <a:pt x="1276" y="409"/>
                  </a:lnTo>
                  <a:lnTo>
                    <a:pt x="1287" y="439"/>
                  </a:lnTo>
                  <a:lnTo>
                    <a:pt x="1298" y="470"/>
                  </a:lnTo>
                  <a:lnTo>
                    <a:pt x="1307" y="501"/>
                  </a:lnTo>
                  <a:lnTo>
                    <a:pt x="1314" y="532"/>
                  </a:lnTo>
                  <a:lnTo>
                    <a:pt x="1319" y="565"/>
                  </a:lnTo>
                  <a:lnTo>
                    <a:pt x="1323" y="597"/>
                  </a:lnTo>
                  <a:lnTo>
                    <a:pt x="1326" y="630"/>
                  </a:lnTo>
                  <a:lnTo>
                    <a:pt x="1326" y="664"/>
                  </a:lnTo>
                  <a:lnTo>
                    <a:pt x="1326" y="664"/>
                  </a:lnTo>
                  <a:lnTo>
                    <a:pt x="1326" y="696"/>
                  </a:lnTo>
                  <a:lnTo>
                    <a:pt x="1323" y="729"/>
                  </a:lnTo>
                  <a:lnTo>
                    <a:pt x="1319" y="761"/>
                  </a:lnTo>
                  <a:lnTo>
                    <a:pt x="1314" y="794"/>
                  </a:lnTo>
                  <a:lnTo>
                    <a:pt x="1307" y="825"/>
                  </a:lnTo>
                  <a:lnTo>
                    <a:pt x="1298" y="857"/>
                  </a:lnTo>
                  <a:lnTo>
                    <a:pt x="1287" y="887"/>
                  </a:lnTo>
                  <a:lnTo>
                    <a:pt x="1276" y="918"/>
                  </a:lnTo>
                  <a:lnTo>
                    <a:pt x="1263" y="947"/>
                  </a:lnTo>
                  <a:lnTo>
                    <a:pt x="1249" y="975"/>
                  </a:lnTo>
                  <a:lnTo>
                    <a:pt x="1233" y="1004"/>
                  </a:lnTo>
                  <a:lnTo>
                    <a:pt x="1215" y="1031"/>
                  </a:lnTo>
                  <a:lnTo>
                    <a:pt x="1197" y="1058"/>
                  </a:lnTo>
                  <a:lnTo>
                    <a:pt x="1177" y="1083"/>
                  </a:lnTo>
                  <a:lnTo>
                    <a:pt x="1155" y="1109"/>
                  </a:lnTo>
                  <a:lnTo>
                    <a:pt x="1132" y="1132"/>
                  </a:lnTo>
                  <a:lnTo>
                    <a:pt x="1132" y="1132"/>
                  </a:lnTo>
                  <a:lnTo>
                    <a:pt x="1109" y="1155"/>
                  </a:lnTo>
                  <a:lnTo>
                    <a:pt x="1083" y="1177"/>
                  </a:lnTo>
                  <a:lnTo>
                    <a:pt x="1058" y="1197"/>
                  </a:lnTo>
                  <a:lnTo>
                    <a:pt x="1031" y="1215"/>
                  </a:lnTo>
                  <a:lnTo>
                    <a:pt x="1004" y="1233"/>
                  </a:lnTo>
                  <a:lnTo>
                    <a:pt x="975" y="1249"/>
                  </a:lnTo>
                  <a:lnTo>
                    <a:pt x="947" y="1263"/>
                  </a:lnTo>
                  <a:lnTo>
                    <a:pt x="918" y="1276"/>
                  </a:lnTo>
                  <a:lnTo>
                    <a:pt x="887" y="1287"/>
                  </a:lnTo>
                  <a:lnTo>
                    <a:pt x="857" y="1298"/>
                  </a:lnTo>
                  <a:lnTo>
                    <a:pt x="825" y="1307"/>
                  </a:lnTo>
                  <a:lnTo>
                    <a:pt x="794" y="1314"/>
                  </a:lnTo>
                  <a:lnTo>
                    <a:pt x="761" y="1319"/>
                  </a:lnTo>
                  <a:lnTo>
                    <a:pt x="729" y="1323"/>
                  </a:lnTo>
                  <a:lnTo>
                    <a:pt x="696" y="1326"/>
                  </a:lnTo>
                  <a:lnTo>
                    <a:pt x="664" y="1326"/>
                  </a:lnTo>
                  <a:lnTo>
                    <a:pt x="664" y="1326"/>
                  </a:lnTo>
                  <a:lnTo>
                    <a:pt x="630" y="1326"/>
                  </a:lnTo>
                  <a:lnTo>
                    <a:pt x="597" y="1323"/>
                  </a:lnTo>
                  <a:lnTo>
                    <a:pt x="565" y="1319"/>
                  </a:lnTo>
                  <a:lnTo>
                    <a:pt x="532" y="1314"/>
                  </a:lnTo>
                  <a:lnTo>
                    <a:pt x="501" y="1307"/>
                  </a:lnTo>
                  <a:lnTo>
                    <a:pt x="470" y="1298"/>
                  </a:lnTo>
                  <a:lnTo>
                    <a:pt x="439" y="1287"/>
                  </a:lnTo>
                  <a:lnTo>
                    <a:pt x="409" y="1276"/>
                  </a:lnTo>
                  <a:lnTo>
                    <a:pt x="380" y="1263"/>
                  </a:lnTo>
                  <a:lnTo>
                    <a:pt x="351" y="1249"/>
                  </a:lnTo>
                  <a:lnTo>
                    <a:pt x="323" y="1233"/>
                  </a:lnTo>
                  <a:lnTo>
                    <a:pt x="296" y="1215"/>
                  </a:lnTo>
                  <a:lnTo>
                    <a:pt x="269" y="1197"/>
                  </a:lnTo>
                  <a:lnTo>
                    <a:pt x="243" y="1177"/>
                  </a:lnTo>
                  <a:lnTo>
                    <a:pt x="218" y="1155"/>
                  </a:lnTo>
                  <a:lnTo>
                    <a:pt x="194" y="1132"/>
                  </a:lnTo>
                  <a:lnTo>
                    <a:pt x="194" y="1132"/>
                  </a:lnTo>
                  <a:lnTo>
                    <a:pt x="172" y="1109"/>
                  </a:lnTo>
                  <a:lnTo>
                    <a:pt x="150" y="1083"/>
                  </a:lnTo>
                  <a:lnTo>
                    <a:pt x="130" y="1058"/>
                  </a:lnTo>
                  <a:lnTo>
                    <a:pt x="111" y="1031"/>
                  </a:lnTo>
                  <a:lnTo>
                    <a:pt x="93" y="1004"/>
                  </a:lnTo>
                  <a:lnTo>
                    <a:pt x="78" y="975"/>
                  </a:lnTo>
                  <a:lnTo>
                    <a:pt x="63" y="947"/>
                  </a:lnTo>
                  <a:lnTo>
                    <a:pt x="50" y="918"/>
                  </a:lnTo>
                  <a:lnTo>
                    <a:pt x="39" y="887"/>
                  </a:lnTo>
                  <a:lnTo>
                    <a:pt x="28" y="857"/>
                  </a:lnTo>
                  <a:lnTo>
                    <a:pt x="20" y="825"/>
                  </a:lnTo>
                  <a:lnTo>
                    <a:pt x="13" y="794"/>
                  </a:lnTo>
                  <a:lnTo>
                    <a:pt x="7" y="761"/>
                  </a:lnTo>
                  <a:lnTo>
                    <a:pt x="3" y="729"/>
                  </a:lnTo>
                  <a:lnTo>
                    <a:pt x="1" y="696"/>
                  </a:lnTo>
                  <a:lnTo>
                    <a:pt x="0" y="664"/>
                  </a:lnTo>
                  <a:lnTo>
                    <a:pt x="0" y="664"/>
                  </a:lnTo>
                  <a:lnTo>
                    <a:pt x="1" y="630"/>
                  </a:lnTo>
                  <a:lnTo>
                    <a:pt x="3" y="597"/>
                  </a:lnTo>
                  <a:lnTo>
                    <a:pt x="7" y="565"/>
                  </a:lnTo>
                  <a:lnTo>
                    <a:pt x="13" y="532"/>
                  </a:lnTo>
                  <a:lnTo>
                    <a:pt x="20" y="501"/>
                  </a:lnTo>
                  <a:lnTo>
                    <a:pt x="28" y="470"/>
                  </a:lnTo>
                  <a:lnTo>
                    <a:pt x="39" y="439"/>
                  </a:lnTo>
                  <a:lnTo>
                    <a:pt x="50" y="409"/>
                  </a:lnTo>
                  <a:lnTo>
                    <a:pt x="63" y="380"/>
                  </a:lnTo>
                  <a:lnTo>
                    <a:pt x="78" y="351"/>
                  </a:lnTo>
                  <a:lnTo>
                    <a:pt x="93" y="323"/>
                  </a:lnTo>
                  <a:lnTo>
                    <a:pt x="111" y="296"/>
                  </a:lnTo>
                  <a:lnTo>
                    <a:pt x="130" y="269"/>
                  </a:lnTo>
                  <a:lnTo>
                    <a:pt x="150" y="243"/>
                  </a:lnTo>
                  <a:lnTo>
                    <a:pt x="172" y="218"/>
                  </a:lnTo>
                  <a:lnTo>
                    <a:pt x="194" y="194"/>
                  </a:lnTo>
                  <a:lnTo>
                    <a:pt x="194" y="194"/>
                  </a:lnTo>
                  <a:lnTo>
                    <a:pt x="218" y="172"/>
                  </a:lnTo>
                  <a:lnTo>
                    <a:pt x="243" y="150"/>
                  </a:lnTo>
                  <a:lnTo>
                    <a:pt x="269" y="130"/>
                  </a:lnTo>
                  <a:lnTo>
                    <a:pt x="296" y="111"/>
                  </a:lnTo>
                  <a:lnTo>
                    <a:pt x="323" y="93"/>
                  </a:lnTo>
                  <a:lnTo>
                    <a:pt x="351" y="78"/>
                  </a:lnTo>
                  <a:lnTo>
                    <a:pt x="380" y="63"/>
                  </a:lnTo>
                  <a:lnTo>
                    <a:pt x="409" y="50"/>
                  </a:lnTo>
                  <a:lnTo>
                    <a:pt x="439" y="39"/>
                  </a:lnTo>
                  <a:lnTo>
                    <a:pt x="470" y="28"/>
                  </a:lnTo>
                  <a:lnTo>
                    <a:pt x="501" y="20"/>
                  </a:lnTo>
                  <a:lnTo>
                    <a:pt x="532" y="13"/>
                  </a:lnTo>
                  <a:lnTo>
                    <a:pt x="565" y="7"/>
                  </a:lnTo>
                  <a:lnTo>
                    <a:pt x="597" y="3"/>
                  </a:lnTo>
                  <a:lnTo>
                    <a:pt x="630" y="1"/>
                  </a:lnTo>
                  <a:lnTo>
                    <a:pt x="66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432BCB57-9C66-49FE-BE9D-8EB32F5437D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0" y="1920"/>
              <a:ext cx="480" cy="480"/>
            </a:xfrm>
            <a:custGeom>
              <a:avLst/>
              <a:gdLst>
                <a:gd name="T0" fmla="*/ 683 w 1440"/>
                <a:gd name="T1" fmla="*/ 1 h 1440"/>
                <a:gd name="T2" fmla="*/ 575 w 1440"/>
                <a:gd name="T3" fmla="*/ 14 h 1440"/>
                <a:gd name="T4" fmla="*/ 473 w 1440"/>
                <a:gd name="T5" fmla="*/ 44 h 1440"/>
                <a:gd name="T6" fmla="*/ 377 w 1440"/>
                <a:gd name="T7" fmla="*/ 87 h 1440"/>
                <a:gd name="T8" fmla="*/ 290 w 1440"/>
                <a:gd name="T9" fmla="*/ 143 h 1440"/>
                <a:gd name="T10" fmla="*/ 211 w 1440"/>
                <a:gd name="T11" fmla="*/ 211 h 1440"/>
                <a:gd name="T12" fmla="*/ 143 w 1440"/>
                <a:gd name="T13" fmla="*/ 290 h 1440"/>
                <a:gd name="T14" fmla="*/ 87 w 1440"/>
                <a:gd name="T15" fmla="*/ 377 h 1440"/>
                <a:gd name="T16" fmla="*/ 44 w 1440"/>
                <a:gd name="T17" fmla="*/ 473 h 1440"/>
                <a:gd name="T18" fmla="*/ 14 w 1440"/>
                <a:gd name="T19" fmla="*/ 575 h 1440"/>
                <a:gd name="T20" fmla="*/ 1 w 1440"/>
                <a:gd name="T21" fmla="*/ 683 h 1440"/>
                <a:gd name="T22" fmla="*/ 1 w 1440"/>
                <a:gd name="T23" fmla="*/ 757 h 1440"/>
                <a:gd name="T24" fmla="*/ 14 w 1440"/>
                <a:gd name="T25" fmla="*/ 865 h 1440"/>
                <a:gd name="T26" fmla="*/ 44 w 1440"/>
                <a:gd name="T27" fmla="*/ 967 h 1440"/>
                <a:gd name="T28" fmla="*/ 87 w 1440"/>
                <a:gd name="T29" fmla="*/ 1063 h 1440"/>
                <a:gd name="T30" fmla="*/ 143 w 1440"/>
                <a:gd name="T31" fmla="*/ 1151 h 1440"/>
                <a:gd name="T32" fmla="*/ 211 w 1440"/>
                <a:gd name="T33" fmla="*/ 1230 h 1440"/>
                <a:gd name="T34" fmla="*/ 290 w 1440"/>
                <a:gd name="T35" fmla="*/ 1298 h 1440"/>
                <a:gd name="T36" fmla="*/ 377 w 1440"/>
                <a:gd name="T37" fmla="*/ 1354 h 1440"/>
                <a:gd name="T38" fmla="*/ 473 w 1440"/>
                <a:gd name="T39" fmla="*/ 1396 h 1440"/>
                <a:gd name="T40" fmla="*/ 575 w 1440"/>
                <a:gd name="T41" fmla="*/ 1426 h 1440"/>
                <a:gd name="T42" fmla="*/ 683 w 1440"/>
                <a:gd name="T43" fmla="*/ 1439 h 1440"/>
                <a:gd name="T44" fmla="*/ 757 w 1440"/>
                <a:gd name="T45" fmla="*/ 1439 h 1440"/>
                <a:gd name="T46" fmla="*/ 865 w 1440"/>
                <a:gd name="T47" fmla="*/ 1426 h 1440"/>
                <a:gd name="T48" fmla="*/ 967 w 1440"/>
                <a:gd name="T49" fmla="*/ 1396 h 1440"/>
                <a:gd name="T50" fmla="*/ 1063 w 1440"/>
                <a:gd name="T51" fmla="*/ 1354 h 1440"/>
                <a:gd name="T52" fmla="*/ 1151 w 1440"/>
                <a:gd name="T53" fmla="*/ 1298 h 1440"/>
                <a:gd name="T54" fmla="*/ 1230 w 1440"/>
                <a:gd name="T55" fmla="*/ 1230 h 1440"/>
                <a:gd name="T56" fmla="*/ 1298 w 1440"/>
                <a:gd name="T57" fmla="*/ 1151 h 1440"/>
                <a:gd name="T58" fmla="*/ 1354 w 1440"/>
                <a:gd name="T59" fmla="*/ 1063 h 1440"/>
                <a:gd name="T60" fmla="*/ 1396 w 1440"/>
                <a:gd name="T61" fmla="*/ 967 h 1440"/>
                <a:gd name="T62" fmla="*/ 1426 w 1440"/>
                <a:gd name="T63" fmla="*/ 865 h 1440"/>
                <a:gd name="T64" fmla="*/ 1439 w 1440"/>
                <a:gd name="T65" fmla="*/ 757 h 1440"/>
                <a:gd name="T66" fmla="*/ 1439 w 1440"/>
                <a:gd name="T67" fmla="*/ 683 h 1440"/>
                <a:gd name="T68" fmla="*/ 1426 w 1440"/>
                <a:gd name="T69" fmla="*/ 575 h 1440"/>
                <a:gd name="T70" fmla="*/ 1396 w 1440"/>
                <a:gd name="T71" fmla="*/ 473 h 1440"/>
                <a:gd name="T72" fmla="*/ 1354 w 1440"/>
                <a:gd name="T73" fmla="*/ 377 h 1440"/>
                <a:gd name="T74" fmla="*/ 1298 w 1440"/>
                <a:gd name="T75" fmla="*/ 290 h 1440"/>
                <a:gd name="T76" fmla="*/ 1230 w 1440"/>
                <a:gd name="T77" fmla="*/ 211 h 1440"/>
                <a:gd name="T78" fmla="*/ 1151 w 1440"/>
                <a:gd name="T79" fmla="*/ 143 h 1440"/>
                <a:gd name="T80" fmla="*/ 1063 w 1440"/>
                <a:gd name="T81" fmla="*/ 87 h 1440"/>
                <a:gd name="T82" fmla="*/ 967 w 1440"/>
                <a:gd name="T83" fmla="*/ 44 h 1440"/>
                <a:gd name="T84" fmla="*/ 865 w 1440"/>
                <a:gd name="T85" fmla="*/ 14 h 1440"/>
                <a:gd name="T86" fmla="*/ 757 w 1440"/>
                <a:gd name="T87" fmla="*/ 1 h 1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440" h="1440">
                  <a:moveTo>
                    <a:pt x="721" y="0"/>
                  </a:moveTo>
                  <a:lnTo>
                    <a:pt x="721" y="0"/>
                  </a:lnTo>
                  <a:lnTo>
                    <a:pt x="683" y="1"/>
                  </a:lnTo>
                  <a:lnTo>
                    <a:pt x="646" y="4"/>
                  </a:lnTo>
                  <a:lnTo>
                    <a:pt x="611" y="8"/>
                  </a:lnTo>
                  <a:lnTo>
                    <a:pt x="575" y="14"/>
                  </a:lnTo>
                  <a:lnTo>
                    <a:pt x="541" y="22"/>
                  </a:lnTo>
                  <a:lnTo>
                    <a:pt x="506" y="33"/>
                  </a:lnTo>
                  <a:lnTo>
                    <a:pt x="473" y="44"/>
                  </a:lnTo>
                  <a:lnTo>
                    <a:pt x="440" y="57"/>
                  </a:lnTo>
                  <a:lnTo>
                    <a:pt x="408" y="71"/>
                  </a:lnTo>
                  <a:lnTo>
                    <a:pt x="377" y="87"/>
                  </a:lnTo>
                  <a:lnTo>
                    <a:pt x="347" y="105"/>
                  </a:lnTo>
                  <a:lnTo>
                    <a:pt x="317" y="123"/>
                  </a:lnTo>
                  <a:lnTo>
                    <a:pt x="290" y="143"/>
                  </a:lnTo>
                  <a:lnTo>
                    <a:pt x="262" y="165"/>
                  </a:lnTo>
                  <a:lnTo>
                    <a:pt x="236" y="187"/>
                  </a:lnTo>
                  <a:lnTo>
                    <a:pt x="211" y="211"/>
                  </a:lnTo>
                  <a:lnTo>
                    <a:pt x="187" y="236"/>
                  </a:lnTo>
                  <a:lnTo>
                    <a:pt x="165" y="262"/>
                  </a:lnTo>
                  <a:lnTo>
                    <a:pt x="143" y="290"/>
                  </a:lnTo>
                  <a:lnTo>
                    <a:pt x="123" y="317"/>
                  </a:lnTo>
                  <a:lnTo>
                    <a:pt x="105" y="347"/>
                  </a:lnTo>
                  <a:lnTo>
                    <a:pt x="87" y="377"/>
                  </a:lnTo>
                  <a:lnTo>
                    <a:pt x="71" y="408"/>
                  </a:lnTo>
                  <a:lnTo>
                    <a:pt x="57" y="440"/>
                  </a:lnTo>
                  <a:lnTo>
                    <a:pt x="44" y="473"/>
                  </a:lnTo>
                  <a:lnTo>
                    <a:pt x="33" y="506"/>
                  </a:lnTo>
                  <a:lnTo>
                    <a:pt x="22" y="541"/>
                  </a:lnTo>
                  <a:lnTo>
                    <a:pt x="14" y="575"/>
                  </a:lnTo>
                  <a:lnTo>
                    <a:pt x="8" y="611"/>
                  </a:lnTo>
                  <a:lnTo>
                    <a:pt x="4" y="646"/>
                  </a:lnTo>
                  <a:lnTo>
                    <a:pt x="1" y="683"/>
                  </a:lnTo>
                  <a:lnTo>
                    <a:pt x="0" y="721"/>
                  </a:lnTo>
                  <a:lnTo>
                    <a:pt x="0" y="721"/>
                  </a:lnTo>
                  <a:lnTo>
                    <a:pt x="1" y="757"/>
                  </a:lnTo>
                  <a:lnTo>
                    <a:pt x="4" y="794"/>
                  </a:lnTo>
                  <a:lnTo>
                    <a:pt x="8" y="830"/>
                  </a:lnTo>
                  <a:lnTo>
                    <a:pt x="14" y="865"/>
                  </a:lnTo>
                  <a:lnTo>
                    <a:pt x="22" y="900"/>
                  </a:lnTo>
                  <a:lnTo>
                    <a:pt x="33" y="934"/>
                  </a:lnTo>
                  <a:lnTo>
                    <a:pt x="44" y="967"/>
                  </a:lnTo>
                  <a:lnTo>
                    <a:pt x="57" y="1001"/>
                  </a:lnTo>
                  <a:lnTo>
                    <a:pt x="71" y="1032"/>
                  </a:lnTo>
                  <a:lnTo>
                    <a:pt x="87" y="1063"/>
                  </a:lnTo>
                  <a:lnTo>
                    <a:pt x="105" y="1093"/>
                  </a:lnTo>
                  <a:lnTo>
                    <a:pt x="123" y="1123"/>
                  </a:lnTo>
                  <a:lnTo>
                    <a:pt x="143" y="1151"/>
                  </a:lnTo>
                  <a:lnTo>
                    <a:pt x="165" y="1178"/>
                  </a:lnTo>
                  <a:lnTo>
                    <a:pt x="187" y="1204"/>
                  </a:lnTo>
                  <a:lnTo>
                    <a:pt x="211" y="1230"/>
                  </a:lnTo>
                  <a:lnTo>
                    <a:pt x="236" y="1253"/>
                  </a:lnTo>
                  <a:lnTo>
                    <a:pt x="262" y="1275"/>
                  </a:lnTo>
                  <a:lnTo>
                    <a:pt x="290" y="1298"/>
                  </a:lnTo>
                  <a:lnTo>
                    <a:pt x="317" y="1317"/>
                  </a:lnTo>
                  <a:lnTo>
                    <a:pt x="347" y="1336"/>
                  </a:lnTo>
                  <a:lnTo>
                    <a:pt x="377" y="1354"/>
                  </a:lnTo>
                  <a:lnTo>
                    <a:pt x="408" y="1369"/>
                  </a:lnTo>
                  <a:lnTo>
                    <a:pt x="440" y="1384"/>
                  </a:lnTo>
                  <a:lnTo>
                    <a:pt x="473" y="1396"/>
                  </a:lnTo>
                  <a:lnTo>
                    <a:pt x="506" y="1407"/>
                  </a:lnTo>
                  <a:lnTo>
                    <a:pt x="541" y="1418"/>
                  </a:lnTo>
                  <a:lnTo>
                    <a:pt x="575" y="1426"/>
                  </a:lnTo>
                  <a:lnTo>
                    <a:pt x="611" y="1432"/>
                  </a:lnTo>
                  <a:lnTo>
                    <a:pt x="646" y="1437"/>
                  </a:lnTo>
                  <a:lnTo>
                    <a:pt x="683" y="1439"/>
                  </a:lnTo>
                  <a:lnTo>
                    <a:pt x="721" y="1440"/>
                  </a:lnTo>
                  <a:lnTo>
                    <a:pt x="721" y="1440"/>
                  </a:lnTo>
                  <a:lnTo>
                    <a:pt x="757" y="1439"/>
                  </a:lnTo>
                  <a:lnTo>
                    <a:pt x="794" y="1437"/>
                  </a:lnTo>
                  <a:lnTo>
                    <a:pt x="830" y="1432"/>
                  </a:lnTo>
                  <a:lnTo>
                    <a:pt x="865" y="1426"/>
                  </a:lnTo>
                  <a:lnTo>
                    <a:pt x="900" y="1418"/>
                  </a:lnTo>
                  <a:lnTo>
                    <a:pt x="934" y="1407"/>
                  </a:lnTo>
                  <a:lnTo>
                    <a:pt x="967" y="1396"/>
                  </a:lnTo>
                  <a:lnTo>
                    <a:pt x="1001" y="1384"/>
                  </a:lnTo>
                  <a:lnTo>
                    <a:pt x="1032" y="1369"/>
                  </a:lnTo>
                  <a:lnTo>
                    <a:pt x="1063" y="1354"/>
                  </a:lnTo>
                  <a:lnTo>
                    <a:pt x="1093" y="1336"/>
                  </a:lnTo>
                  <a:lnTo>
                    <a:pt x="1123" y="1317"/>
                  </a:lnTo>
                  <a:lnTo>
                    <a:pt x="1151" y="1298"/>
                  </a:lnTo>
                  <a:lnTo>
                    <a:pt x="1178" y="1275"/>
                  </a:lnTo>
                  <a:lnTo>
                    <a:pt x="1204" y="1253"/>
                  </a:lnTo>
                  <a:lnTo>
                    <a:pt x="1230" y="1230"/>
                  </a:lnTo>
                  <a:lnTo>
                    <a:pt x="1253" y="1204"/>
                  </a:lnTo>
                  <a:lnTo>
                    <a:pt x="1275" y="1178"/>
                  </a:lnTo>
                  <a:lnTo>
                    <a:pt x="1298" y="1151"/>
                  </a:lnTo>
                  <a:lnTo>
                    <a:pt x="1317" y="1123"/>
                  </a:lnTo>
                  <a:lnTo>
                    <a:pt x="1336" y="1093"/>
                  </a:lnTo>
                  <a:lnTo>
                    <a:pt x="1354" y="1063"/>
                  </a:lnTo>
                  <a:lnTo>
                    <a:pt x="1369" y="1032"/>
                  </a:lnTo>
                  <a:lnTo>
                    <a:pt x="1384" y="1001"/>
                  </a:lnTo>
                  <a:lnTo>
                    <a:pt x="1396" y="967"/>
                  </a:lnTo>
                  <a:lnTo>
                    <a:pt x="1407" y="934"/>
                  </a:lnTo>
                  <a:lnTo>
                    <a:pt x="1418" y="900"/>
                  </a:lnTo>
                  <a:lnTo>
                    <a:pt x="1426" y="865"/>
                  </a:lnTo>
                  <a:lnTo>
                    <a:pt x="1432" y="830"/>
                  </a:lnTo>
                  <a:lnTo>
                    <a:pt x="1437" y="794"/>
                  </a:lnTo>
                  <a:lnTo>
                    <a:pt x="1439" y="757"/>
                  </a:lnTo>
                  <a:lnTo>
                    <a:pt x="1440" y="721"/>
                  </a:lnTo>
                  <a:lnTo>
                    <a:pt x="1440" y="721"/>
                  </a:lnTo>
                  <a:lnTo>
                    <a:pt x="1439" y="683"/>
                  </a:lnTo>
                  <a:lnTo>
                    <a:pt x="1437" y="646"/>
                  </a:lnTo>
                  <a:lnTo>
                    <a:pt x="1432" y="611"/>
                  </a:lnTo>
                  <a:lnTo>
                    <a:pt x="1426" y="575"/>
                  </a:lnTo>
                  <a:lnTo>
                    <a:pt x="1418" y="541"/>
                  </a:lnTo>
                  <a:lnTo>
                    <a:pt x="1407" y="506"/>
                  </a:lnTo>
                  <a:lnTo>
                    <a:pt x="1396" y="473"/>
                  </a:lnTo>
                  <a:lnTo>
                    <a:pt x="1384" y="440"/>
                  </a:lnTo>
                  <a:lnTo>
                    <a:pt x="1369" y="408"/>
                  </a:lnTo>
                  <a:lnTo>
                    <a:pt x="1354" y="377"/>
                  </a:lnTo>
                  <a:lnTo>
                    <a:pt x="1336" y="347"/>
                  </a:lnTo>
                  <a:lnTo>
                    <a:pt x="1317" y="317"/>
                  </a:lnTo>
                  <a:lnTo>
                    <a:pt x="1298" y="290"/>
                  </a:lnTo>
                  <a:lnTo>
                    <a:pt x="1275" y="262"/>
                  </a:lnTo>
                  <a:lnTo>
                    <a:pt x="1253" y="236"/>
                  </a:lnTo>
                  <a:lnTo>
                    <a:pt x="1230" y="211"/>
                  </a:lnTo>
                  <a:lnTo>
                    <a:pt x="1204" y="187"/>
                  </a:lnTo>
                  <a:lnTo>
                    <a:pt x="1178" y="165"/>
                  </a:lnTo>
                  <a:lnTo>
                    <a:pt x="1151" y="143"/>
                  </a:lnTo>
                  <a:lnTo>
                    <a:pt x="1123" y="123"/>
                  </a:lnTo>
                  <a:lnTo>
                    <a:pt x="1093" y="105"/>
                  </a:lnTo>
                  <a:lnTo>
                    <a:pt x="1063" y="87"/>
                  </a:lnTo>
                  <a:lnTo>
                    <a:pt x="1032" y="71"/>
                  </a:lnTo>
                  <a:lnTo>
                    <a:pt x="1001" y="57"/>
                  </a:lnTo>
                  <a:lnTo>
                    <a:pt x="967" y="44"/>
                  </a:lnTo>
                  <a:lnTo>
                    <a:pt x="934" y="33"/>
                  </a:lnTo>
                  <a:lnTo>
                    <a:pt x="900" y="22"/>
                  </a:lnTo>
                  <a:lnTo>
                    <a:pt x="865" y="14"/>
                  </a:lnTo>
                  <a:lnTo>
                    <a:pt x="830" y="8"/>
                  </a:lnTo>
                  <a:lnTo>
                    <a:pt x="794" y="4"/>
                  </a:lnTo>
                  <a:lnTo>
                    <a:pt x="757" y="1"/>
                  </a:lnTo>
                  <a:lnTo>
                    <a:pt x="721" y="0"/>
                  </a:lnTo>
                  <a:lnTo>
                    <a:pt x="72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0ADEF7-EDAE-4CFA-B7C7-1C3BDDE7FB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47" y="1991"/>
              <a:ext cx="266" cy="345"/>
            </a:xfrm>
            <a:custGeom>
              <a:avLst/>
              <a:gdLst>
                <a:gd name="T0" fmla="*/ 318 w 797"/>
                <a:gd name="T1" fmla="*/ 9 h 1034"/>
                <a:gd name="T2" fmla="*/ 208 w 797"/>
                <a:gd name="T3" fmla="*/ 48 h 1034"/>
                <a:gd name="T4" fmla="*/ 117 w 797"/>
                <a:gd name="T5" fmla="*/ 117 h 1034"/>
                <a:gd name="T6" fmla="*/ 48 w 797"/>
                <a:gd name="T7" fmla="*/ 209 h 1034"/>
                <a:gd name="T8" fmla="*/ 8 w 797"/>
                <a:gd name="T9" fmla="*/ 319 h 1034"/>
                <a:gd name="T10" fmla="*/ 1 w 797"/>
                <a:gd name="T11" fmla="*/ 427 h 1034"/>
                <a:gd name="T12" fmla="*/ 46 w 797"/>
                <a:gd name="T13" fmla="*/ 584 h 1034"/>
                <a:gd name="T14" fmla="*/ 146 w 797"/>
                <a:gd name="T15" fmla="*/ 707 h 1034"/>
                <a:gd name="T16" fmla="*/ 214 w 797"/>
                <a:gd name="T17" fmla="*/ 878 h 1034"/>
                <a:gd name="T18" fmla="*/ 252 w 797"/>
                <a:gd name="T19" fmla="*/ 971 h 1034"/>
                <a:gd name="T20" fmla="*/ 334 w 797"/>
                <a:gd name="T21" fmla="*/ 1027 h 1034"/>
                <a:gd name="T22" fmla="*/ 428 w 797"/>
                <a:gd name="T23" fmla="*/ 1033 h 1034"/>
                <a:gd name="T24" fmla="*/ 520 w 797"/>
                <a:gd name="T25" fmla="*/ 994 h 1034"/>
                <a:gd name="T26" fmla="*/ 575 w 797"/>
                <a:gd name="T27" fmla="*/ 913 h 1034"/>
                <a:gd name="T28" fmla="*/ 607 w 797"/>
                <a:gd name="T29" fmla="*/ 737 h 1034"/>
                <a:gd name="T30" fmla="*/ 723 w 797"/>
                <a:gd name="T31" fmla="*/ 628 h 1034"/>
                <a:gd name="T32" fmla="*/ 788 w 797"/>
                <a:gd name="T33" fmla="*/ 482 h 1034"/>
                <a:gd name="T34" fmla="*/ 794 w 797"/>
                <a:gd name="T35" fmla="*/ 358 h 1034"/>
                <a:gd name="T36" fmla="*/ 765 w 797"/>
                <a:gd name="T37" fmla="*/ 243 h 1034"/>
                <a:gd name="T38" fmla="*/ 705 w 797"/>
                <a:gd name="T39" fmla="*/ 145 h 1034"/>
                <a:gd name="T40" fmla="*/ 621 w 797"/>
                <a:gd name="T41" fmla="*/ 69 h 1034"/>
                <a:gd name="T42" fmla="*/ 516 w 797"/>
                <a:gd name="T43" fmla="*/ 18 h 1034"/>
                <a:gd name="T44" fmla="*/ 399 w 797"/>
                <a:gd name="T45" fmla="*/ 0 h 1034"/>
                <a:gd name="T46" fmla="*/ 358 w 797"/>
                <a:gd name="T47" fmla="*/ 970 h 1034"/>
                <a:gd name="T48" fmla="*/ 292 w 797"/>
                <a:gd name="T49" fmla="*/ 922 h 1034"/>
                <a:gd name="T50" fmla="*/ 465 w 797"/>
                <a:gd name="T51" fmla="*/ 960 h 1034"/>
                <a:gd name="T52" fmla="*/ 522 w 797"/>
                <a:gd name="T53" fmla="*/ 861 h 1034"/>
                <a:gd name="T54" fmla="*/ 522 w 797"/>
                <a:gd name="T55" fmla="*/ 800 h 1034"/>
                <a:gd name="T56" fmla="*/ 334 w 797"/>
                <a:gd name="T57" fmla="*/ 477 h 1034"/>
                <a:gd name="T58" fmla="*/ 373 w 797"/>
                <a:gd name="T59" fmla="*/ 430 h 1034"/>
                <a:gd name="T60" fmla="*/ 401 w 797"/>
                <a:gd name="T61" fmla="*/ 425 h 1034"/>
                <a:gd name="T62" fmla="*/ 446 w 797"/>
                <a:gd name="T63" fmla="*/ 445 h 1034"/>
                <a:gd name="T64" fmla="*/ 466 w 797"/>
                <a:gd name="T65" fmla="*/ 490 h 1034"/>
                <a:gd name="T66" fmla="*/ 399 w 797"/>
                <a:gd name="T67" fmla="*/ 736 h 1034"/>
                <a:gd name="T68" fmla="*/ 333 w 797"/>
                <a:gd name="T69" fmla="*/ 729 h 1034"/>
                <a:gd name="T70" fmla="*/ 533 w 797"/>
                <a:gd name="T71" fmla="*/ 708 h 1034"/>
                <a:gd name="T72" fmla="*/ 520 w 797"/>
                <a:gd name="T73" fmla="*/ 453 h 1034"/>
                <a:gd name="T74" fmla="*/ 481 w 797"/>
                <a:gd name="T75" fmla="*/ 394 h 1034"/>
                <a:gd name="T76" fmla="*/ 414 w 797"/>
                <a:gd name="T77" fmla="*/ 365 h 1034"/>
                <a:gd name="T78" fmla="*/ 361 w 797"/>
                <a:gd name="T79" fmla="*/ 370 h 1034"/>
                <a:gd name="T80" fmla="*/ 301 w 797"/>
                <a:gd name="T81" fmla="*/ 410 h 1034"/>
                <a:gd name="T82" fmla="*/ 274 w 797"/>
                <a:gd name="T83" fmla="*/ 477 h 1034"/>
                <a:gd name="T84" fmla="*/ 207 w 797"/>
                <a:gd name="T85" fmla="*/ 676 h 1034"/>
                <a:gd name="T86" fmla="*/ 107 w 797"/>
                <a:gd name="T87" fmla="*/ 568 h 1034"/>
                <a:gd name="T88" fmla="*/ 62 w 797"/>
                <a:gd name="T89" fmla="*/ 425 h 1034"/>
                <a:gd name="T90" fmla="*/ 67 w 797"/>
                <a:gd name="T91" fmla="*/ 331 h 1034"/>
                <a:gd name="T92" fmla="*/ 102 w 797"/>
                <a:gd name="T93" fmla="*/ 237 h 1034"/>
                <a:gd name="T94" fmla="*/ 160 w 797"/>
                <a:gd name="T95" fmla="*/ 160 h 1034"/>
                <a:gd name="T96" fmla="*/ 237 w 797"/>
                <a:gd name="T97" fmla="*/ 102 h 1034"/>
                <a:gd name="T98" fmla="*/ 330 w 797"/>
                <a:gd name="T99" fmla="*/ 67 h 1034"/>
                <a:gd name="T100" fmla="*/ 416 w 797"/>
                <a:gd name="T101" fmla="*/ 61 h 1034"/>
                <a:gd name="T102" fmla="*/ 514 w 797"/>
                <a:gd name="T103" fmla="*/ 82 h 1034"/>
                <a:gd name="T104" fmla="*/ 600 w 797"/>
                <a:gd name="T105" fmla="*/ 128 h 1034"/>
                <a:gd name="T106" fmla="*/ 669 w 797"/>
                <a:gd name="T107" fmla="*/ 197 h 1034"/>
                <a:gd name="T108" fmla="*/ 716 w 797"/>
                <a:gd name="T109" fmla="*/ 283 h 1034"/>
                <a:gd name="T110" fmla="*/ 735 w 797"/>
                <a:gd name="T111" fmla="*/ 382 h 1034"/>
                <a:gd name="T112" fmla="*/ 722 w 797"/>
                <a:gd name="T113" fmla="*/ 493 h 1034"/>
                <a:gd name="T114" fmla="*/ 656 w 797"/>
                <a:gd name="T115" fmla="*/ 615 h 1034"/>
                <a:gd name="T116" fmla="*/ 548 w 797"/>
                <a:gd name="T117" fmla="*/ 701 h 10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97" h="1034">
                  <a:moveTo>
                    <a:pt x="399" y="0"/>
                  </a:moveTo>
                  <a:lnTo>
                    <a:pt x="399" y="0"/>
                  </a:lnTo>
                  <a:lnTo>
                    <a:pt x="378" y="0"/>
                  </a:lnTo>
                  <a:lnTo>
                    <a:pt x="358" y="2"/>
                  </a:lnTo>
                  <a:lnTo>
                    <a:pt x="338" y="4"/>
                  </a:lnTo>
                  <a:lnTo>
                    <a:pt x="318" y="9"/>
                  </a:lnTo>
                  <a:lnTo>
                    <a:pt x="299" y="13"/>
                  </a:lnTo>
                  <a:lnTo>
                    <a:pt x="280" y="18"/>
                  </a:lnTo>
                  <a:lnTo>
                    <a:pt x="261" y="25"/>
                  </a:lnTo>
                  <a:lnTo>
                    <a:pt x="243" y="32"/>
                  </a:lnTo>
                  <a:lnTo>
                    <a:pt x="226" y="39"/>
                  </a:lnTo>
                  <a:lnTo>
                    <a:pt x="208" y="48"/>
                  </a:lnTo>
                  <a:lnTo>
                    <a:pt x="192" y="58"/>
                  </a:lnTo>
                  <a:lnTo>
                    <a:pt x="176" y="69"/>
                  </a:lnTo>
                  <a:lnTo>
                    <a:pt x="160" y="80"/>
                  </a:lnTo>
                  <a:lnTo>
                    <a:pt x="145" y="91"/>
                  </a:lnTo>
                  <a:lnTo>
                    <a:pt x="130" y="104"/>
                  </a:lnTo>
                  <a:lnTo>
                    <a:pt x="117" y="117"/>
                  </a:lnTo>
                  <a:lnTo>
                    <a:pt x="104" y="131"/>
                  </a:lnTo>
                  <a:lnTo>
                    <a:pt x="91" y="145"/>
                  </a:lnTo>
                  <a:lnTo>
                    <a:pt x="79" y="160"/>
                  </a:lnTo>
                  <a:lnTo>
                    <a:pt x="68" y="176"/>
                  </a:lnTo>
                  <a:lnTo>
                    <a:pt x="58" y="192"/>
                  </a:lnTo>
                  <a:lnTo>
                    <a:pt x="48" y="209"/>
                  </a:lnTo>
                  <a:lnTo>
                    <a:pt x="39" y="226"/>
                  </a:lnTo>
                  <a:lnTo>
                    <a:pt x="32" y="243"/>
                  </a:lnTo>
                  <a:lnTo>
                    <a:pt x="25" y="262"/>
                  </a:lnTo>
                  <a:lnTo>
                    <a:pt x="17" y="280"/>
                  </a:lnTo>
                  <a:lnTo>
                    <a:pt x="12" y="299"/>
                  </a:lnTo>
                  <a:lnTo>
                    <a:pt x="8" y="319"/>
                  </a:lnTo>
                  <a:lnTo>
                    <a:pt x="4" y="338"/>
                  </a:lnTo>
                  <a:lnTo>
                    <a:pt x="2" y="358"/>
                  </a:lnTo>
                  <a:lnTo>
                    <a:pt x="0" y="377"/>
                  </a:lnTo>
                  <a:lnTo>
                    <a:pt x="0" y="399"/>
                  </a:lnTo>
                  <a:lnTo>
                    <a:pt x="0" y="399"/>
                  </a:lnTo>
                  <a:lnTo>
                    <a:pt x="1" y="427"/>
                  </a:lnTo>
                  <a:lnTo>
                    <a:pt x="4" y="455"/>
                  </a:lnTo>
                  <a:lnTo>
                    <a:pt x="8" y="482"/>
                  </a:lnTo>
                  <a:lnTo>
                    <a:pt x="15" y="509"/>
                  </a:lnTo>
                  <a:lnTo>
                    <a:pt x="24" y="534"/>
                  </a:lnTo>
                  <a:lnTo>
                    <a:pt x="34" y="559"/>
                  </a:lnTo>
                  <a:lnTo>
                    <a:pt x="46" y="584"/>
                  </a:lnTo>
                  <a:lnTo>
                    <a:pt x="59" y="607"/>
                  </a:lnTo>
                  <a:lnTo>
                    <a:pt x="73" y="628"/>
                  </a:lnTo>
                  <a:lnTo>
                    <a:pt x="90" y="650"/>
                  </a:lnTo>
                  <a:lnTo>
                    <a:pt x="108" y="670"/>
                  </a:lnTo>
                  <a:lnTo>
                    <a:pt x="126" y="688"/>
                  </a:lnTo>
                  <a:lnTo>
                    <a:pt x="146" y="707"/>
                  </a:lnTo>
                  <a:lnTo>
                    <a:pt x="168" y="723"/>
                  </a:lnTo>
                  <a:lnTo>
                    <a:pt x="189" y="737"/>
                  </a:lnTo>
                  <a:lnTo>
                    <a:pt x="213" y="750"/>
                  </a:lnTo>
                  <a:lnTo>
                    <a:pt x="213" y="861"/>
                  </a:lnTo>
                  <a:lnTo>
                    <a:pt x="213" y="861"/>
                  </a:lnTo>
                  <a:lnTo>
                    <a:pt x="214" y="878"/>
                  </a:lnTo>
                  <a:lnTo>
                    <a:pt x="217" y="896"/>
                  </a:lnTo>
                  <a:lnTo>
                    <a:pt x="221" y="913"/>
                  </a:lnTo>
                  <a:lnTo>
                    <a:pt x="227" y="928"/>
                  </a:lnTo>
                  <a:lnTo>
                    <a:pt x="234" y="943"/>
                  </a:lnTo>
                  <a:lnTo>
                    <a:pt x="242" y="958"/>
                  </a:lnTo>
                  <a:lnTo>
                    <a:pt x="252" y="971"/>
                  </a:lnTo>
                  <a:lnTo>
                    <a:pt x="263" y="983"/>
                  </a:lnTo>
                  <a:lnTo>
                    <a:pt x="276" y="994"/>
                  </a:lnTo>
                  <a:lnTo>
                    <a:pt x="290" y="1004"/>
                  </a:lnTo>
                  <a:lnTo>
                    <a:pt x="304" y="1014"/>
                  </a:lnTo>
                  <a:lnTo>
                    <a:pt x="318" y="1021"/>
                  </a:lnTo>
                  <a:lnTo>
                    <a:pt x="334" y="1027"/>
                  </a:lnTo>
                  <a:lnTo>
                    <a:pt x="351" y="1031"/>
                  </a:lnTo>
                  <a:lnTo>
                    <a:pt x="368" y="1033"/>
                  </a:lnTo>
                  <a:lnTo>
                    <a:pt x="386" y="1034"/>
                  </a:lnTo>
                  <a:lnTo>
                    <a:pt x="411" y="1034"/>
                  </a:lnTo>
                  <a:lnTo>
                    <a:pt x="411" y="1034"/>
                  </a:lnTo>
                  <a:lnTo>
                    <a:pt x="428" y="1033"/>
                  </a:lnTo>
                  <a:lnTo>
                    <a:pt x="445" y="1031"/>
                  </a:lnTo>
                  <a:lnTo>
                    <a:pt x="462" y="1027"/>
                  </a:lnTo>
                  <a:lnTo>
                    <a:pt x="478" y="1021"/>
                  </a:lnTo>
                  <a:lnTo>
                    <a:pt x="493" y="1014"/>
                  </a:lnTo>
                  <a:lnTo>
                    <a:pt x="507" y="1004"/>
                  </a:lnTo>
                  <a:lnTo>
                    <a:pt x="520" y="994"/>
                  </a:lnTo>
                  <a:lnTo>
                    <a:pt x="533" y="983"/>
                  </a:lnTo>
                  <a:lnTo>
                    <a:pt x="544" y="971"/>
                  </a:lnTo>
                  <a:lnTo>
                    <a:pt x="554" y="958"/>
                  </a:lnTo>
                  <a:lnTo>
                    <a:pt x="562" y="943"/>
                  </a:lnTo>
                  <a:lnTo>
                    <a:pt x="570" y="928"/>
                  </a:lnTo>
                  <a:lnTo>
                    <a:pt x="575" y="913"/>
                  </a:lnTo>
                  <a:lnTo>
                    <a:pt x="580" y="896"/>
                  </a:lnTo>
                  <a:lnTo>
                    <a:pt x="582" y="878"/>
                  </a:lnTo>
                  <a:lnTo>
                    <a:pt x="583" y="861"/>
                  </a:lnTo>
                  <a:lnTo>
                    <a:pt x="583" y="750"/>
                  </a:lnTo>
                  <a:lnTo>
                    <a:pt x="583" y="750"/>
                  </a:lnTo>
                  <a:lnTo>
                    <a:pt x="607" y="737"/>
                  </a:lnTo>
                  <a:lnTo>
                    <a:pt x="629" y="723"/>
                  </a:lnTo>
                  <a:lnTo>
                    <a:pt x="651" y="707"/>
                  </a:lnTo>
                  <a:lnTo>
                    <a:pt x="670" y="688"/>
                  </a:lnTo>
                  <a:lnTo>
                    <a:pt x="689" y="670"/>
                  </a:lnTo>
                  <a:lnTo>
                    <a:pt x="706" y="650"/>
                  </a:lnTo>
                  <a:lnTo>
                    <a:pt x="723" y="628"/>
                  </a:lnTo>
                  <a:lnTo>
                    <a:pt x="737" y="607"/>
                  </a:lnTo>
                  <a:lnTo>
                    <a:pt x="751" y="584"/>
                  </a:lnTo>
                  <a:lnTo>
                    <a:pt x="762" y="559"/>
                  </a:lnTo>
                  <a:lnTo>
                    <a:pt x="772" y="534"/>
                  </a:lnTo>
                  <a:lnTo>
                    <a:pt x="781" y="509"/>
                  </a:lnTo>
                  <a:lnTo>
                    <a:pt x="788" y="482"/>
                  </a:lnTo>
                  <a:lnTo>
                    <a:pt x="793" y="455"/>
                  </a:lnTo>
                  <a:lnTo>
                    <a:pt x="796" y="427"/>
                  </a:lnTo>
                  <a:lnTo>
                    <a:pt x="797" y="399"/>
                  </a:lnTo>
                  <a:lnTo>
                    <a:pt x="797" y="399"/>
                  </a:lnTo>
                  <a:lnTo>
                    <a:pt x="796" y="377"/>
                  </a:lnTo>
                  <a:lnTo>
                    <a:pt x="794" y="358"/>
                  </a:lnTo>
                  <a:lnTo>
                    <a:pt x="792" y="338"/>
                  </a:lnTo>
                  <a:lnTo>
                    <a:pt x="789" y="319"/>
                  </a:lnTo>
                  <a:lnTo>
                    <a:pt x="784" y="299"/>
                  </a:lnTo>
                  <a:lnTo>
                    <a:pt x="779" y="280"/>
                  </a:lnTo>
                  <a:lnTo>
                    <a:pt x="772" y="262"/>
                  </a:lnTo>
                  <a:lnTo>
                    <a:pt x="765" y="243"/>
                  </a:lnTo>
                  <a:lnTo>
                    <a:pt x="757" y="226"/>
                  </a:lnTo>
                  <a:lnTo>
                    <a:pt x="748" y="209"/>
                  </a:lnTo>
                  <a:lnTo>
                    <a:pt x="739" y="192"/>
                  </a:lnTo>
                  <a:lnTo>
                    <a:pt x="729" y="176"/>
                  </a:lnTo>
                  <a:lnTo>
                    <a:pt x="718" y="160"/>
                  </a:lnTo>
                  <a:lnTo>
                    <a:pt x="705" y="145"/>
                  </a:lnTo>
                  <a:lnTo>
                    <a:pt x="693" y="131"/>
                  </a:lnTo>
                  <a:lnTo>
                    <a:pt x="680" y="117"/>
                  </a:lnTo>
                  <a:lnTo>
                    <a:pt x="666" y="104"/>
                  </a:lnTo>
                  <a:lnTo>
                    <a:pt x="652" y="91"/>
                  </a:lnTo>
                  <a:lnTo>
                    <a:pt x="636" y="80"/>
                  </a:lnTo>
                  <a:lnTo>
                    <a:pt x="621" y="69"/>
                  </a:lnTo>
                  <a:lnTo>
                    <a:pt x="605" y="58"/>
                  </a:lnTo>
                  <a:lnTo>
                    <a:pt x="588" y="48"/>
                  </a:lnTo>
                  <a:lnTo>
                    <a:pt x="570" y="39"/>
                  </a:lnTo>
                  <a:lnTo>
                    <a:pt x="553" y="32"/>
                  </a:lnTo>
                  <a:lnTo>
                    <a:pt x="535" y="25"/>
                  </a:lnTo>
                  <a:lnTo>
                    <a:pt x="516" y="18"/>
                  </a:lnTo>
                  <a:lnTo>
                    <a:pt x="497" y="13"/>
                  </a:lnTo>
                  <a:lnTo>
                    <a:pt x="479" y="9"/>
                  </a:lnTo>
                  <a:lnTo>
                    <a:pt x="458" y="4"/>
                  </a:lnTo>
                  <a:lnTo>
                    <a:pt x="439" y="2"/>
                  </a:lnTo>
                  <a:lnTo>
                    <a:pt x="419" y="0"/>
                  </a:lnTo>
                  <a:lnTo>
                    <a:pt x="399" y="0"/>
                  </a:lnTo>
                  <a:lnTo>
                    <a:pt x="399" y="0"/>
                  </a:lnTo>
                  <a:close/>
                  <a:moveTo>
                    <a:pt x="411" y="974"/>
                  </a:moveTo>
                  <a:lnTo>
                    <a:pt x="386" y="974"/>
                  </a:lnTo>
                  <a:lnTo>
                    <a:pt x="386" y="974"/>
                  </a:lnTo>
                  <a:lnTo>
                    <a:pt x="371" y="973"/>
                  </a:lnTo>
                  <a:lnTo>
                    <a:pt x="358" y="970"/>
                  </a:lnTo>
                  <a:lnTo>
                    <a:pt x="344" y="966"/>
                  </a:lnTo>
                  <a:lnTo>
                    <a:pt x="331" y="960"/>
                  </a:lnTo>
                  <a:lnTo>
                    <a:pt x="320" y="952"/>
                  </a:lnTo>
                  <a:lnTo>
                    <a:pt x="309" y="943"/>
                  </a:lnTo>
                  <a:lnTo>
                    <a:pt x="300" y="933"/>
                  </a:lnTo>
                  <a:lnTo>
                    <a:pt x="292" y="922"/>
                  </a:lnTo>
                  <a:lnTo>
                    <a:pt x="504" y="922"/>
                  </a:lnTo>
                  <a:lnTo>
                    <a:pt x="504" y="922"/>
                  </a:lnTo>
                  <a:lnTo>
                    <a:pt x="496" y="933"/>
                  </a:lnTo>
                  <a:lnTo>
                    <a:pt x="487" y="943"/>
                  </a:lnTo>
                  <a:lnTo>
                    <a:pt x="477" y="952"/>
                  </a:lnTo>
                  <a:lnTo>
                    <a:pt x="465" y="960"/>
                  </a:lnTo>
                  <a:lnTo>
                    <a:pt x="452" y="966"/>
                  </a:lnTo>
                  <a:lnTo>
                    <a:pt x="439" y="970"/>
                  </a:lnTo>
                  <a:lnTo>
                    <a:pt x="425" y="973"/>
                  </a:lnTo>
                  <a:lnTo>
                    <a:pt x="411" y="974"/>
                  </a:lnTo>
                  <a:lnTo>
                    <a:pt x="411" y="974"/>
                  </a:lnTo>
                  <a:close/>
                  <a:moveTo>
                    <a:pt x="522" y="861"/>
                  </a:moveTo>
                  <a:lnTo>
                    <a:pt x="522" y="861"/>
                  </a:lnTo>
                  <a:lnTo>
                    <a:pt x="522" y="861"/>
                  </a:lnTo>
                  <a:lnTo>
                    <a:pt x="274" y="861"/>
                  </a:lnTo>
                  <a:lnTo>
                    <a:pt x="274" y="861"/>
                  </a:lnTo>
                  <a:lnTo>
                    <a:pt x="274" y="800"/>
                  </a:lnTo>
                  <a:lnTo>
                    <a:pt x="522" y="800"/>
                  </a:lnTo>
                  <a:lnTo>
                    <a:pt x="522" y="861"/>
                  </a:lnTo>
                  <a:close/>
                  <a:moveTo>
                    <a:pt x="333" y="729"/>
                  </a:moveTo>
                  <a:lnTo>
                    <a:pt x="333" y="490"/>
                  </a:lnTo>
                  <a:lnTo>
                    <a:pt x="333" y="490"/>
                  </a:lnTo>
                  <a:lnTo>
                    <a:pt x="333" y="483"/>
                  </a:lnTo>
                  <a:lnTo>
                    <a:pt x="334" y="477"/>
                  </a:lnTo>
                  <a:lnTo>
                    <a:pt x="337" y="471"/>
                  </a:lnTo>
                  <a:lnTo>
                    <a:pt x="339" y="465"/>
                  </a:lnTo>
                  <a:lnTo>
                    <a:pt x="345" y="454"/>
                  </a:lnTo>
                  <a:lnTo>
                    <a:pt x="353" y="445"/>
                  </a:lnTo>
                  <a:lnTo>
                    <a:pt x="362" y="436"/>
                  </a:lnTo>
                  <a:lnTo>
                    <a:pt x="373" y="430"/>
                  </a:lnTo>
                  <a:lnTo>
                    <a:pt x="379" y="428"/>
                  </a:lnTo>
                  <a:lnTo>
                    <a:pt x="385" y="427"/>
                  </a:lnTo>
                  <a:lnTo>
                    <a:pt x="391" y="426"/>
                  </a:lnTo>
                  <a:lnTo>
                    <a:pt x="397" y="425"/>
                  </a:lnTo>
                  <a:lnTo>
                    <a:pt x="401" y="425"/>
                  </a:lnTo>
                  <a:lnTo>
                    <a:pt x="401" y="425"/>
                  </a:lnTo>
                  <a:lnTo>
                    <a:pt x="408" y="426"/>
                  </a:lnTo>
                  <a:lnTo>
                    <a:pt x="414" y="427"/>
                  </a:lnTo>
                  <a:lnTo>
                    <a:pt x="420" y="428"/>
                  </a:lnTo>
                  <a:lnTo>
                    <a:pt x="426" y="430"/>
                  </a:lnTo>
                  <a:lnTo>
                    <a:pt x="437" y="436"/>
                  </a:lnTo>
                  <a:lnTo>
                    <a:pt x="446" y="445"/>
                  </a:lnTo>
                  <a:lnTo>
                    <a:pt x="454" y="454"/>
                  </a:lnTo>
                  <a:lnTo>
                    <a:pt x="460" y="465"/>
                  </a:lnTo>
                  <a:lnTo>
                    <a:pt x="463" y="471"/>
                  </a:lnTo>
                  <a:lnTo>
                    <a:pt x="464" y="477"/>
                  </a:lnTo>
                  <a:lnTo>
                    <a:pt x="465" y="483"/>
                  </a:lnTo>
                  <a:lnTo>
                    <a:pt x="466" y="490"/>
                  </a:lnTo>
                  <a:lnTo>
                    <a:pt x="466" y="729"/>
                  </a:lnTo>
                  <a:lnTo>
                    <a:pt x="466" y="729"/>
                  </a:lnTo>
                  <a:lnTo>
                    <a:pt x="448" y="732"/>
                  </a:lnTo>
                  <a:lnTo>
                    <a:pt x="432" y="734"/>
                  </a:lnTo>
                  <a:lnTo>
                    <a:pt x="415" y="735"/>
                  </a:lnTo>
                  <a:lnTo>
                    <a:pt x="399" y="736"/>
                  </a:lnTo>
                  <a:lnTo>
                    <a:pt x="399" y="736"/>
                  </a:lnTo>
                  <a:lnTo>
                    <a:pt x="381" y="735"/>
                  </a:lnTo>
                  <a:lnTo>
                    <a:pt x="365" y="734"/>
                  </a:lnTo>
                  <a:lnTo>
                    <a:pt x="350" y="732"/>
                  </a:lnTo>
                  <a:lnTo>
                    <a:pt x="333" y="729"/>
                  </a:lnTo>
                  <a:lnTo>
                    <a:pt x="333" y="729"/>
                  </a:lnTo>
                  <a:close/>
                  <a:moveTo>
                    <a:pt x="548" y="701"/>
                  </a:moveTo>
                  <a:lnTo>
                    <a:pt x="548" y="701"/>
                  </a:lnTo>
                  <a:lnTo>
                    <a:pt x="540" y="704"/>
                  </a:lnTo>
                  <a:lnTo>
                    <a:pt x="536" y="706"/>
                  </a:lnTo>
                  <a:lnTo>
                    <a:pt x="533" y="708"/>
                  </a:lnTo>
                  <a:lnTo>
                    <a:pt x="533" y="708"/>
                  </a:lnTo>
                  <a:lnTo>
                    <a:pt x="526" y="711"/>
                  </a:lnTo>
                  <a:lnTo>
                    <a:pt x="526" y="490"/>
                  </a:lnTo>
                  <a:lnTo>
                    <a:pt x="526" y="490"/>
                  </a:lnTo>
                  <a:lnTo>
                    <a:pt x="526" y="477"/>
                  </a:lnTo>
                  <a:lnTo>
                    <a:pt x="524" y="465"/>
                  </a:lnTo>
                  <a:lnTo>
                    <a:pt x="520" y="453"/>
                  </a:lnTo>
                  <a:lnTo>
                    <a:pt x="516" y="441"/>
                  </a:lnTo>
                  <a:lnTo>
                    <a:pt x="510" y="430"/>
                  </a:lnTo>
                  <a:lnTo>
                    <a:pt x="504" y="420"/>
                  </a:lnTo>
                  <a:lnTo>
                    <a:pt x="497" y="410"/>
                  </a:lnTo>
                  <a:lnTo>
                    <a:pt x="489" y="402"/>
                  </a:lnTo>
                  <a:lnTo>
                    <a:pt x="481" y="394"/>
                  </a:lnTo>
                  <a:lnTo>
                    <a:pt x="471" y="387"/>
                  </a:lnTo>
                  <a:lnTo>
                    <a:pt x="460" y="379"/>
                  </a:lnTo>
                  <a:lnTo>
                    <a:pt x="449" y="374"/>
                  </a:lnTo>
                  <a:lnTo>
                    <a:pt x="438" y="370"/>
                  </a:lnTo>
                  <a:lnTo>
                    <a:pt x="426" y="367"/>
                  </a:lnTo>
                  <a:lnTo>
                    <a:pt x="414" y="365"/>
                  </a:lnTo>
                  <a:lnTo>
                    <a:pt x="401" y="365"/>
                  </a:lnTo>
                  <a:lnTo>
                    <a:pt x="397" y="365"/>
                  </a:lnTo>
                  <a:lnTo>
                    <a:pt x="397" y="365"/>
                  </a:lnTo>
                  <a:lnTo>
                    <a:pt x="385" y="365"/>
                  </a:lnTo>
                  <a:lnTo>
                    <a:pt x="373" y="367"/>
                  </a:lnTo>
                  <a:lnTo>
                    <a:pt x="361" y="370"/>
                  </a:lnTo>
                  <a:lnTo>
                    <a:pt x="349" y="374"/>
                  </a:lnTo>
                  <a:lnTo>
                    <a:pt x="339" y="379"/>
                  </a:lnTo>
                  <a:lnTo>
                    <a:pt x="328" y="387"/>
                  </a:lnTo>
                  <a:lnTo>
                    <a:pt x="318" y="394"/>
                  </a:lnTo>
                  <a:lnTo>
                    <a:pt x="309" y="402"/>
                  </a:lnTo>
                  <a:lnTo>
                    <a:pt x="301" y="410"/>
                  </a:lnTo>
                  <a:lnTo>
                    <a:pt x="294" y="420"/>
                  </a:lnTo>
                  <a:lnTo>
                    <a:pt x="288" y="430"/>
                  </a:lnTo>
                  <a:lnTo>
                    <a:pt x="283" y="441"/>
                  </a:lnTo>
                  <a:lnTo>
                    <a:pt x="279" y="453"/>
                  </a:lnTo>
                  <a:lnTo>
                    <a:pt x="276" y="465"/>
                  </a:lnTo>
                  <a:lnTo>
                    <a:pt x="274" y="477"/>
                  </a:lnTo>
                  <a:lnTo>
                    <a:pt x="272" y="490"/>
                  </a:lnTo>
                  <a:lnTo>
                    <a:pt x="272" y="712"/>
                  </a:lnTo>
                  <a:lnTo>
                    <a:pt x="272" y="712"/>
                  </a:lnTo>
                  <a:lnTo>
                    <a:pt x="250" y="702"/>
                  </a:lnTo>
                  <a:lnTo>
                    <a:pt x="228" y="689"/>
                  </a:lnTo>
                  <a:lnTo>
                    <a:pt x="207" y="676"/>
                  </a:lnTo>
                  <a:lnTo>
                    <a:pt x="187" y="662"/>
                  </a:lnTo>
                  <a:lnTo>
                    <a:pt x="169" y="646"/>
                  </a:lnTo>
                  <a:lnTo>
                    <a:pt x="152" y="627"/>
                  </a:lnTo>
                  <a:lnTo>
                    <a:pt x="135" y="609"/>
                  </a:lnTo>
                  <a:lnTo>
                    <a:pt x="120" y="590"/>
                  </a:lnTo>
                  <a:lnTo>
                    <a:pt x="107" y="568"/>
                  </a:lnTo>
                  <a:lnTo>
                    <a:pt x="95" y="546"/>
                  </a:lnTo>
                  <a:lnTo>
                    <a:pt x="84" y="524"/>
                  </a:lnTo>
                  <a:lnTo>
                    <a:pt x="76" y="500"/>
                  </a:lnTo>
                  <a:lnTo>
                    <a:pt x="69" y="476"/>
                  </a:lnTo>
                  <a:lnTo>
                    <a:pt x="64" y="451"/>
                  </a:lnTo>
                  <a:lnTo>
                    <a:pt x="62" y="425"/>
                  </a:lnTo>
                  <a:lnTo>
                    <a:pt x="61" y="399"/>
                  </a:lnTo>
                  <a:lnTo>
                    <a:pt x="61" y="399"/>
                  </a:lnTo>
                  <a:lnTo>
                    <a:pt x="61" y="382"/>
                  </a:lnTo>
                  <a:lnTo>
                    <a:pt x="62" y="364"/>
                  </a:lnTo>
                  <a:lnTo>
                    <a:pt x="64" y="347"/>
                  </a:lnTo>
                  <a:lnTo>
                    <a:pt x="67" y="331"/>
                  </a:lnTo>
                  <a:lnTo>
                    <a:pt x="71" y="314"/>
                  </a:lnTo>
                  <a:lnTo>
                    <a:pt x="75" y="298"/>
                  </a:lnTo>
                  <a:lnTo>
                    <a:pt x="81" y="283"/>
                  </a:lnTo>
                  <a:lnTo>
                    <a:pt x="88" y="267"/>
                  </a:lnTo>
                  <a:lnTo>
                    <a:pt x="94" y="252"/>
                  </a:lnTo>
                  <a:lnTo>
                    <a:pt x="102" y="237"/>
                  </a:lnTo>
                  <a:lnTo>
                    <a:pt x="110" y="224"/>
                  </a:lnTo>
                  <a:lnTo>
                    <a:pt x="118" y="210"/>
                  </a:lnTo>
                  <a:lnTo>
                    <a:pt x="128" y="197"/>
                  </a:lnTo>
                  <a:lnTo>
                    <a:pt x="137" y="183"/>
                  </a:lnTo>
                  <a:lnTo>
                    <a:pt x="149" y="171"/>
                  </a:lnTo>
                  <a:lnTo>
                    <a:pt x="160" y="160"/>
                  </a:lnTo>
                  <a:lnTo>
                    <a:pt x="171" y="149"/>
                  </a:lnTo>
                  <a:lnTo>
                    <a:pt x="184" y="138"/>
                  </a:lnTo>
                  <a:lnTo>
                    <a:pt x="196" y="128"/>
                  </a:lnTo>
                  <a:lnTo>
                    <a:pt x="209" y="118"/>
                  </a:lnTo>
                  <a:lnTo>
                    <a:pt x="224" y="110"/>
                  </a:lnTo>
                  <a:lnTo>
                    <a:pt x="237" y="102"/>
                  </a:lnTo>
                  <a:lnTo>
                    <a:pt x="252" y="94"/>
                  </a:lnTo>
                  <a:lnTo>
                    <a:pt x="266" y="88"/>
                  </a:lnTo>
                  <a:lnTo>
                    <a:pt x="283" y="82"/>
                  </a:lnTo>
                  <a:lnTo>
                    <a:pt x="298" y="76"/>
                  </a:lnTo>
                  <a:lnTo>
                    <a:pt x="314" y="72"/>
                  </a:lnTo>
                  <a:lnTo>
                    <a:pt x="330" y="67"/>
                  </a:lnTo>
                  <a:lnTo>
                    <a:pt x="347" y="64"/>
                  </a:lnTo>
                  <a:lnTo>
                    <a:pt x="364" y="62"/>
                  </a:lnTo>
                  <a:lnTo>
                    <a:pt x="381" y="61"/>
                  </a:lnTo>
                  <a:lnTo>
                    <a:pt x="399" y="60"/>
                  </a:lnTo>
                  <a:lnTo>
                    <a:pt x="399" y="60"/>
                  </a:lnTo>
                  <a:lnTo>
                    <a:pt x="416" y="61"/>
                  </a:lnTo>
                  <a:lnTo>
                    <a:pt x="433" y="62"/>
                  </a:lnTo>
                  <a:lnTo>
                    <a:pt x="449" y="64"/>
                  </a:lnTo>
                  <a:lnTo>
                    <a:pt x="467" y="67"/>
                  </a:lnTo>
                  <a:lnTo>
                    <a:pt x="483" y="72"/>
                  </a:lnTo>
                  <a:lnTo>
                    <a:pt x="498" y="76"/>
                  </a:lnTo>
                  <a:lnTo>
                    <a:pt x="514" y="82"/>
                  </a:lnTo>
                  <a:lnTo>
                    <a:pt x="530" y="88"/>
                  </a:lnTo>
                  <a:lnTo>
                    <a:pt x="545" y="94"/>
                  </a:lnTo>
                  <a:lnTo>
                    <a:pt x="559" y="102"/>
                  </a:lnTo>
                  <a:lnTo>
                    <a:pt x="573" y="110"/>
                  </a:lnTo>
                  <a:lnTo>
                    <a:pt x="587" y="118"/>
                  </a:lnTo>
                  <a:lnTo>
                    <a:pt x="600" y="128"/>
                  </a:lnTo>
                  <a:lnTo>
                    <a:pt x="613" y="138"/>
                  </a:lnTo>
                  <a:lnTo>
                    <a:pt x="625" y="149"/>
                  </a:lnTo>
                  <a:lnTo>
                    <a:pt x="636" y="160"/>
                  </a:lnTo>
                  <a:lnTo>
                    <a:pt x="647" y="171"/>
                  </a:lnTo>
                  <a:lnTo>
                    <a:pt x="659" y="183"/>
                  </a:lnTo>
                  <a:lnTo>
                    <a:pt x="669" y="197"/>
                  </a:lnTo>
                  <a:lnTo>
                    <a:pt x="678" y="210"/>
                  </a:lnTo>
                  <a:lnTo>
                    <a:pt x="687" y="224"/>
                  </a:lnTo>
                  <a:lnTo>
                    <a:pt x="695" y="237"/>
                  </a:lnTo>
                  <a:lnTo>
                    <a:pt x="702" y="252"/>
                  </a:lnTo>
                  <a:lnTo>
                    <a:pt x="709" y="267"/>
                  </a:lnTo>
                  <a:lnTo>
                    <a:pt x="716" y="283"/>
                  </a:lnTo>
                  <a:lnTo>
                    <a:pt x="721" y="298"/>
                  </a:lnTo>
                  <a:lnTo>
                    <a:pt x="725" y="314"/>
                  </a:lnTo>
                  <a:lnTo>
                    <a:pt x="729" y="331"/>
                  </a:lnTo>
                  <a:lnTo>
                    <a:pt x="732" y="347"/>
                  </a:lnTo>
                  <a:lnTo>
                    <a:pt x="734" y="364"/>
                  </a:lnTo>
                  <a:lnTo>
                    <a:pt x="735" y="382"/>
                  </a:lnTo>
                  <a:lnTo>
                    <a:pt x="736" y="399"/>
                  </a:lnTo>
                  <a:lnTo>
                    <a:pt x="736" y="399"/>
                  </a:lnTo>
                  <a:lnTo>
                    <a:pt x="735" y="423"/>
                  </a:lnTo>
                  <a:lnTo>
                    <a:pt x="732" y="448"/>
                  </a:lnTo>
                  <a:lnTo>
                    <a:pt x="728" y="471"/>
                  </a:lnTo>
                  <a:lnTo>
                    <a:pt x="722" y="493"/>
                  </a:lnTo>
                  <a:lnTo>
                    <a:pt x="715" y="516"/>
                  </a:lnTo>
                  <a:lnTo>
                    <a:pt x="705" y="538"/>
                  </a:lnTo>
                  <a:lnTo>
                    <a:pt x="695" y="558"/>
                  </a:lnTo>
                  <a:lnTo>
                    <a:pt x="683" y="579"/>
                  </a:lnTo>
                  <a:lnTo>
                    <a:pt x="670" y="598"/>
                  </a:lnTo>
                  <a:lnTo>
                    <a:pt x="656" y="615"/>
                  </a:lnTo>
                  <a:lnTo>
                    <a:pt x="640" y="633"/>
                  </a:lnTo>
                  <a:lnTo>
                    <a:pt x="624" y="649"/>
                  </a:lnTo>
                  <a:lnTo>
                    <a:pt x="606" y="664"/>
                  </a:lnTo>
                  <a:lnTo>
                    <a:pt x="588" y="677"/>
                  </a:lnTo>
                  <a:lnTo>
                    <a:pt x="568" y="689"/>
                  </a:lnTo>
                  <a:lnTo>
                    <a:pt x="548" y="701"/>
                  </a:lnTo>
                  <a:lnTo>
                    <a:pt x="548" y="701"/>
                  </a:lnTo>
                  <a:close/>
                </a:path>
              </a:pathLst>
            </a:custGeom>
            <a:solidFill>
              <a:srgbClr val="00A0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14" name="Freeform 5">
            <a:extLst>
              <a:ext uri="{FF2B5EF4-FFF2-40B4-BE49-F238E27FC236}">
                <a16:creationId xmlns:a16="http://schemas.microsoft.com/office/drawing/2014/main" id="{E889792A-ED15-49C7-9330-0809533300B5}"/>
              </a:ext>
            </a:extLst>
          </p:cNvPr>
          <p:cNvSpPr>
            <a:spLocks noEditPoints="1"/>
          </p:cNvSpPr>
          <p:nvPr/>
        </p:nvSpPr>
        <p:spPr bwMode="auto">
          <a:xfrm>
            <a:off x="6096000" y="5382075"/>
            <a:ext cx="762000" cy="688975"/>
          </a:xfrm>
          <a:custGeom>
            <a:avLst/>
            <a:gdLst>
              <a:gd name="T0" fmla="*/ 221 w 1920"/>
              <a:gd name="T1" fmla="*/ 1736 h 1736"/>
              <a:gd name="T2" fmla="*/ 161 w 1920"/>
              <a:gd name="T3" fmla="*/ 1724 h 1736"/>
              <a:gd name="T4" fmla="*/ 106 w 1920"/>
              <a:gd name="T5" fmla="*/ 1697 h 1736"/>
              <a:gd name="T6" fmla="*/ 60 w 1920"/>
              <a:gd name="T7" fmla="*/ 1656 h 1736"/>
              <a:gd name="T8" fmla="*/ 32 w 1920"/>
              <a:gd name="T9" fmla="*/ 1618 h 1736"/>
              <a:gd name="T10" fmla="*/ 9 w 1920"/>
              <a:gd name="T11" fmla="*/ 1561 h 1736"/>
              <a:gd name="T12" fmla="*/ 0 w 1920"/>
              <a:gd name="T13" fmla="*/ 1501 h 1736"/>
              <a:gd name="T14" fmla="*/ 7 w 1920"/>
              <a:gd name="T15" fmla="*/ 1441 h 1736"/>
              <a:gd name="T16" fmla="*/ 32 w 1920"/>
              <a:gd name="T17" fmla="*/ 1382 h 1736"/>
              <a:gd name="T18" fmla="*/ 772 w 1920"/>
              <a:gd name="T19" fmla="*/ 93 h 1736"/>
              <a:gd name="T20" fmla="*/ 816 w 1920"/>
              <a:gd name="T21" fmla="*/ 49 h 1736"/>
              <a:gd name="T22" fmla="*/ 869 w 1920"/>
              <a:gd name="T23" fmla="*/ 18 h 1736"/>
              <a:gd name="T24" fmla="*/ 927 w 1920"/>
              <a:gd name="T25" fmla="*/ 2 h 1736"/>
              <a:gd name="T26" fmla="*/ 975 w 1920"/>
              <a:gd name="T27" fmla="*/ 0 h 1736"/>
              <a:gd name="T28" fmla="*/ 1037 w 1920"/>
              <a:gd name="T29" fmla="*/ 12 h 1736"/>
              <a:gd name="T30" fmla="*/ 1092 w 1920"/>
              <a:gd name="T31" fmla="*/ 39 h 1736"/>
              <a:gd name="T32" fmla="*/ 1139 w 1920"/>
              <a:gd name="T33" fmla="*/ 81 h 1736"/>
              <a:gd name="T34" fmla="*/ 1888 w 1920"/>
              <a:gd name="T35" fmla="*/ 1382 h 1736"/>
              <a:gd name="T36" fmla="*/ 1908 w 1920"/>
              <a:gd name="T37" fmla="*/ 1425 h 1736"/>
              <a:gd name="T38" fmla="*/ 1919 w 1920"/>
              <a:gd name="T39" fmla="*/ 1485 h 1736"/>
              <a:gd name="T40" fmla="*/ 1915 w 1920"/>
              <a:gd name="T41" fmla="*/ 1546 h 1736"/>
              <a:gd name="T42" fmla="*/ 1895 w 1920"/>
              <a:gd name="T43" fmla="*/ 1605 h 1736"/>
              <a:gd name="T44" fmla="*/ 1870 w 1920"/>
              <a:gd name="T45" fmla="*/ 1645 h 1736"/>
              <a:gd name="T46" fmla="*/ 1827 w 1920"/>
              <a:gd name="T47" fmla="*/ 1688 h 1736"/>
              <a:gd name="T48" fmla="*/ 1774 w 1920"/>
              <a:gd name="T49" fmla="*/ 1719 h 1736"/>
              <a:gd name="T50" fmla="*/ 1714 w 1920"/>
              <a:gd name="T51" fmla="*/ 1735 h 1736"/>
              <a:gd name="T52" fmla="*/ 959 w 1920"/>
              <a:gd name="T53" fmla="*/ 74 h 1736"/>
              <a:gd name="T54" fmla="*/ 897 w 1920"/>
              <a:gd name="T55" fmla="*/ 86 h 1736"/>
              <a:gd name="T56" fmla="*/ 829 w 1920"/>
              <a:gd name="T57" fmla="*/ 137 h 1736"/>
              <a:gd name="T58" fmla="*/ 86 w 1920"/>
              <a:gd name="T59" fmla="*/ 1438 h 1736"/>
              <a:gd name="T60" fmla="*/ 75 w 1920"/>
              <a:gd name="T61" fmla="*/ 1522 h 1736"/>
              <a:gd name="T62" fmla="*/ 96 w 1920"/>
              <a:gd name="T63" fmla="*/ 1582 h 1736"/>
              <a:gd name="T64" fmla="*/ 156 w 1920"/>
              <a:gd name="T65" fmla="*/ 1642 h 1736"/>
              <a:gd name="T66" fmla="*/ 237 w 1920"/>
              <a:gd name="T67" fmla="*/ 1664 h 1736"/>
              <a:gd name="T68" fmla="*/ 1725 w 1920"/>
              <a:gd name="T69" fmla="*/ 1658 h 1736"/>
              <a:gd name="T70" fmla="*/ 1797 w 1920"/>
              <a:gd name="T71" fmla="*/ 1616 h 1736"/>
              <a:gd name="T72" fmla="*/ 1834 w 1920"/>
              <a:gd name="T73" fmla="*/ 1562 h 1736"/>
              <a:gd name="T74" fmla="*/ 1845 w 1920"/>
              <a:gd name="T75" fmla="*/ 1479 h 1736"/>
              <a:gd name="T76" fmla="*/ 1102 w 1920"/>
              <a:gd name="T77" fmla="*/ 156 h 1736"/>
              <a:gd name="T78" fmla="*/ 1060 w 1920"/>
              <a:gd name="T79" fmla="*/ 107 h 1736"/>
              <a:gd name="T80" fmla="*/ 981 w 1920"/>
              <a:gd name="T81" fmla="*/ 75 h 1736"/>
              <a:gd name="T82" fmla="*/ 996 w 1920"/>
              <a:gd name="T83" fmla="*/ 484 h 1736"/>
              <a:gd name="T84" fmla="*/ 990 w 1920"/>
              <a:gd name="T85" fmla="*/ 464 h 1736"/>
              <a:gd name="T86" fmla="*/ 967 w 1920"/>
              <a:gd name="T87" fmla="*/ 448 h 1736"/>
              <a:gd name="T88" fmla="*/ 946 w 1920"/>
              <a:gd name="T89" fmla="*/ 451 h 1736"/>
              <a:gd name="T90" fmla="*/ 926 w 1920"/>
              <a:gd name="T91" fmla="*/ 470 h 1736"/>
              <a:gd name="T92" fmla="*/ 924 w 1920"/>
              <a:gd name="T93" fmla="*/ 1166 h 1736"/>
              <a:gd name="T94" fmla="*/ 934 w 1920"/>
              <a:gd name="T95" fmla="*/ 1192 h 1736"/>
              <a:gd name="T96" fmla="*/ 959 w 1920"/>
              <a:gd name="T97" fmla="*/ 1203 h 1736"/>
              <a:gd name="T98" fmla="*/ 980 w 1920"/>
              <a:gd name="T99" fmla="*/ 1197 h 1736"/>
              <a:gd name="T100" fmla="*/ 996 w 1920"/>
              <a:gd name="T101" fmla="*/ 1174 h 1736"/>
              <a:gd name="T102" fmla="*/ 959 w 1920"/>
              <a:gd name="T103" fmla="*/ 1321 h 1736"/>
              <a:gd name="T104" fmla="*/ 921 w 1920"/>
              <a:gd name="T105" fmla="*/ 1337 h 1736"/>
              <a:gd name="T106" fmla="*/ 905 w 1920"/>
              <a:gd name="T107" fmla="*/ 1375 h 1736"/>
              <a:gd name="T108" fmla="*/ 914 w 1920"/>
              <a:gd name="T109" fmla="*/ 1405 h 1736"/>
              <a:gd name="T110" fmla="*/ 948 w 1920"/>
              <a:gd name="T111" fmla="*/ 1428 h 1736"/>
              <a:gd name="T112" fmla="*/ 981 w 1920"/>
              <a:gd name="T113" fmla="*/ 1425 h 1736"/>
              <a:gd name="T114" fmla="*/ 1010 w 1920"/>
              <a:gd name="T115" fmla="*/ 1395 h 1736"/>
              <a:gd name="T116" fmla="*/ 1013 w 1920"/>
              <a:gd name="T117" fmla="*/ 1364 h 1736"/>
              <a:gd name="T118" fmla="*/ 990 w 1920"/>
              <a:gd name="T119" fmla="*/ 1329 h 1736"/>
              <a:gd name="T120" fmla="*/ 959 w 1920"/>
              <a:gd name="T121" fmla="*/ 1321 h 17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920" h="1736">
                <a:moveTo>
                  <a:pt x="1682" y="1736"/>
                </a:moveTo>
                <a:lnTo>
                  <a:pt x="237" y="1736"/>
                </a:lnTo>
                <a:lnTo>
                  <a:pt x="237" y="1736"/>
                </a:lnTo>
                <a:lnTo>
                  <a:pt x="221" y="1736"/>
                </a:lnTo>
                <a:lnTo>
                  <a:pt x="206" y="1735"/>
                </a:lnTo>
                <a:lnTo>
                  <a:pt x="190" y="1732"/>
                </a:lnTo>
                <a:lnTo>
                  <a:pt x="175" y="1729"/>
                </a:lnTo>
                <a:lnTo>
                  <a:pt x="161" y="1724"/>
                </a:lnTo>
                <a:lnTo>
                  <a:pt x="146" y="1719"/>
                </a:lnTo>
                <a:lnTo>
                  <a:pt x="132" y="1713"/>
                </a:lnTo>
                <a:lnTo>
                  <a:pt x="119" y="1705"/>
                </a:lnTo>
                <a:lnTo>
                  <a:pt x="106" y="1697"/>
                </a:lnTo>
                <a:lnTo>
                  <a:pt x="93" y="1688"/>
                </a:lnTo>
                <a:lnTo>
                  <a:pt x="82" y="1678"/>
                </a:lnTo>
                <a:lnTo>
                  <a:pt x="70" y="1669"/>
                </a:lnTo>
                <a:lnTo>
                  <a:pt x="60" y="1656"/>
                </a:lnTo>
                <a:lnTo>
                  <a:pt x="50" y="1645"/>
                </a:lnTo>
                <a:lnTo>
                  <a:pt x="40" y="1632"/>
                </a:lnTo>
                <a:lnTo>
                  <a:pt x="32" y="1618"/>
                </a:lnTo>
                <a:lnTo>
                  <a:pt x="32" y="1618"/>
                </a:lnTo>
                <a:lnTo>
                  <a:pt x="25" y="1605"/>
                </a:lnTo>
                <a:lnTo>
                  <a:pt x="18" y="1590"/>
                </a:lnTo>
                <a:lnTo>
                  <a:pt x="12" y="1576"/>
                </a:lnTo>
                <a:lnTo>
                  <a:pt x="9" y="1561"/>
                </a:lnTo>
                <a:lnTo>
                  <a:pt x="5" y="1546"/>
                </a:lnTo>
                <a:lnTo>
                  <a:pt x="2" y="1531"/>
                </a:lnTo>
                <a:lnTo>
                  <a:pt x="0" y="1515"/>
                </a:lnTo>
                <a:lnTo>
                  <a:pt x="0" y="1501"/>
                </a:lnTo>
                <a:lnTo>
                  <a:pt x="0" y="1485"/>
                </a:lnTo>
                <a:lnTo>
                  <a:pt x="2" y="1470"/>
                </a:lnTo>
                <a:lnTo>
                  <a:pt x="5" y="1455"/>
                </a:lnTo>
                <a:lnTo>
                  <a:pt x="7" y="1441"/>
                </a:lnTo>
                <a:lnTo>
                  <a:pt x="12" y="1425"/>
                </a:lnTo>
                <a:lnTo>
                  <a:pt x="17" y="1411"/>
                </a:lnTo>
                <a:lnTo>
                  <a:pt x="25" y="1397"/>
                </a:lnTo>
                <a:lnTo>
                  <a:pt x="32" y="1382"/>
                </a:lnTo>
                <a:lnTo>
                  <a:pt x="755" y="119"/>
                </a:lnTo>
                <a:lnTo>
                  <a:pt x="755" y="119"/>
                </a:lnTo>
                <a:lnTo>
                  <a:pt x="763" y="105"/>
                </a:lnTo>
                <a:lnTo>
                  <a:pt x="772" y="93"/>
                </a:lnTo>
                <a:lnTo>
                  <a:pt x="781" y="81"/>
                </a:lnTo>
                <a:lnTo>
                  <a:pt x="793" y="69"/>
                </a:lnTo>
                <a:lnTo>
                  <a:pt x="804" y="59"/>
                </a:lnTo>
                <a:lnTo>
                  <a:pt x="816" y="49"/>
                </a:lnTo>
                <a:lnTo>
                  <a:pt x="828" y="39"/>
                </a:lnTo>
                <a:lnTo>
                  <a:pt x="840" y="32"/>
                </a:lnTo>
                <a:lnTo>
                  <a:pt x="854" y="25"/>
                </a:lnTo>
                <a:lnTo>
                  <a:pt x="869" y="18"/>
                </a:lnTo>
                <a:lnTo>
                  <a:pt x="882" y="12"/>
                </a:lnTo>
                <a:lnTo>
                  <a:pt x="897" y="9"/>
                </a:lnTo>
                <a:lnTo>
                  <a:pt x="913" y="5"/>
                </a:lnTo>
                <a:lnTo>
                  <a:pt x="927" y="2"/>
                </a:lnTo>
                <a:lnTo>
                  <a:pt x="943" y="0"/>
                </a:lnTo>
                <a:lnTo>
                  <a:pt x="959" y="0"/>
                </a:lnTo>
                <a:lnTo>
                  <a:pt x="959" y="0"/>
                </a:lnTo>
                <a:lnTo>
                  <a:pt x="975" y="0"/>
                </a:lnTo>
                <a:lnTo>
                  <a:pt x="991" y="2"/>
                </a:lnTo>
                <a:lnTo>
                  <a:pt x="1007" y="5"/>
                </a:lnTo>
                <a:lnTo>
                  <a:pt x="1022" y="9"/>
                </a:lnTo>
                <a:lnTo>
                  <a:pt x="1037" y="12"/>
                </a:lnTo>
                <a:lnTo>
                  <a:pt x="1051" y="18"/>
                </a:lnTo>
                <a:lnTo>
                  <a:pt x="1065" y="25"/>
                </a:lnTo>
                <a:lnTo>
                  <a:pt x="1078" y="32"/>
                </a:lnTo>
                <a:lnTo>
                  <a:pt x="1092" y="39"/>
                </a:lnTo>
                <a:lnTo>
                  <a:pt x="1104" y="49"/>
                </a:lnTo>
                <a:lnTo>
                  <a:pt x="1116" y="59"/>
                </a:lnTo>
                <a:lnTo>
                  <a:pt x="1127" y="69"/>
                </a:lnTo>
                <a:lnTo>
                  <a:pt x="1139" y="81"/>
                </a:lnTo>
                <a:lnTo>
                  <a:pt x="1148" y="93"/>
                </a:lnTo>
                <a:lnTo>
                  <a:pt x="1157" y="105"/>
                </a:lnTo>
                <a:lnTo>
                  <a:pt x="1165" y="119"/>
                </a:lnTo>
                <a:lnTo>
                  <a:pt x="1888" y="1382"/>
                </a:lnTo>
                <a:lnTo>
                  <a:pt x="1888" y="1382"/>
                </a:lnTo>
                <a:lnTo>
                  <a:pt x="1895" y="1397"/>
                </a:lnTo>
                <a:lnTo>
                  <a:pt x="1902" y="1411"/>
                </a:lnTo>
                <a:lnTo>
                  <a:pt x="1908" y="1425"/>
                </a:lnTo>
                <a:lnTo>
                  <a:pt x="1911" y="1441"/>
                </a:lnTo>
                <a:lnTo>
                  <a:pt x="1915" y="1455"/>
                </a:lnTo>
                <a:lnTo>
                  <a:pt x="1918" y="1470"/>
                </a:lnTo>
                <a:lnTo>
                  <a:pt x="1919" y="1485"/>
                </a:lnTo>
                <a:lnTo>
                  <a:pt x="1920" y="1501"/>
                </a:lnTo>
                <a:lnTo>
                  <a:pt x="1919" y="1515"/>
                </a:lnTo>
                <a:lnTo>
                  <a:pt x="1918" y="1531"/>
                </a:lnTo>
                <a:lnTo>
                  <a:pt x="1915" y="1546"/>
                </a:lnTo>
                <a:lnTo>
                  <a:pt x="1911" y="1561"/>
                </a:lnTo>
                <a:lnTo>
                  <a:pt x="1907" y="1576"/>
                </a:lnTo>
                <a:lnTo>
                  <a:pt x="1902" y="1590"/>
                </a:lnTo>
                <a:lnTo>
                  <a:pt x="1895" y="1605"/>
                </a:lnTo>
                <a:lnTo>
                  <a:pt x="1887" y="1618"/>
                </a:lnTo>
                <a:lnTo>
                  <a:pt x="1887" y="1618"/>
                </a:lnTo>
                <a:lnTo>
                  <a:pt x="1878" y="1632"/>
                </a:lnTo>
                <a:lnTo>
                  <a:pt x="1870" y="1645"/>
                </a:lnTo>
                <a:lnTo>
                  <a:pt x="1860" y="1656"/>
                </a:lnTo>
                <a:lnTo>
                  <a:pt x="1849" y="1669"/>
                </a:lnTo>
                <a:lnTo>
                  <a:pt x="1838" y="1678"/>
                </a:lnTo>
                <a:lnTo>
                  <a:pt x="1827" y="1688"/>
                </a:lnTo>
                <a:lnTo>
                  <a:pt x="1813" y="1697"/>
                </a:lnTo>
                <a:lnTo>
                  <a:pt x="1801" y="1705"/>
                </a:lnTo>
                <a:lnTo>
                  <a:pt x="1788" y="1713"/>
                </a:lnTo>
                <a:lnTo>
                  <a:pt x="1774" y="1719"/>
                </a:lnTo>
                <a:lnTo>
                  <a:pt x="1759" y="1724"/>
                </a:lnTo>
                <a:lnTo>
                  <a:pt x="1745" y="1729"/>
                </a:lnTo>
                <a:lnTo>
                  <a:pt x="1730" y="1732"/>
                </a:lnTo>
                <a:lnTo>
                  <a:pt x="1714" y="1735"/>
                </a:lnTo>
                <a:lnTo>
                  <a:pt x="1698" y="1736"/>
                </a:lnTo>
                <a:lnTo>
                  <a:pt x="1682" y="1736"/>
                </a:lnTo>
                <a:lnTo>
                  <a:pt x="1682" y="1736"/>
                </a:lnTo>
                <a:close/>
                <a:moveTo>
                  <a:pt x="959" y="74"/>
                </a:moveTo>
                <a:lnTo>
                  <a:pt x="959" y="74"/>
                </a:lnTo>
                <a:lnTo>
                  <a:pt x="937" y="75"/>
                </a:lnTo>
                <a:lnTo>
                  <a:pt x="916" y="78"/>
                </a:lnTo>
                <a:lnTo>
                  <a:pt x="897" y="86"/>
                </a:lnTo>
                <a:lnTo>
                  <a:pt x="877" y="96"/>
                </a:lnTo>
                <a:lnTo>
                  <a:pt x="860" y="107"/>
                </a:lnTo>
                <a:lnTo>
                  <a:pt x="844" y="121"/>
                </a:lnTo>
                <a:lnTo>
                  <a:pt x="829" y="137"/>
                </a:lnTo>
                <a:lnTo>
                  <a:pt x="818" y="156"/>
                </a:lnTo>
                <a:lnTo>
                  <a:pt x="96" y="1419"/>
                </a:lnTo>
                <a:lnTo>
                  <a:pt x="96" y="1419"/>
                </a:lnTo>
                <a:lnTo>
                  <a:pt x="86" y="1438"/>
                </a:lnTo>
                <a:lnTo>
                  <a:pt x="79" y="1459"/>
                </a:lnTo>
                <a:lnTo>
                  <a:pt x="75" y="1479"/>
                </a:lnTo>
                <a:lnTo>
                  <a:pt x="74" y="1501"/>
                </a:lnTo>
                <a:lnTo>
                  <a:pt x="75" y="1522"/>
                </a:lnTo>
                <a:lnTo>
                  <a:pt x="79" y="1542"/>
                </a:lnTo>
                <a:lnTo>
                  <a:pt x="86" y="1562"/>
                </a:lnTo>
                <a:lnTo>
                  <a:pt x="96" y="1582"/>
                </a:lnTo>
                <a:lnTo>
                  <a:pt x="96" y="1582"/>
                </a:lnTo>
                <a:lnTo>
                  <a:pt x="108" y="1600"/>
                </a:lnTo>
                <a:lnTo>
                  <a:pt x="123" y="1616"/>
                </a:lnTo>
                <a:lnTo>
                  <a:pt x="137" y="1629"/>
                </a:lnTo>
                <a:lnTo>
                  <a:pt x="156" y="1642"/>
                </a:lnTo>
                <a:lnTo>
                  <a:pt x="174" y="1651"/>
                </a:lnTo>
                <a:lnTo>
                  <a:pt x="194" y="1658"/>
                </a:lnTo>
                <a:lnTo>
                  <a:pt x="216" y="1661"/>
                </a:lnTo>
                <a:lnTo>
                  <a:pt x="237" y="1664"/>
                </a:lnTo>
                <a:lnTo>
                  <a:pt x="1682" y="1664"/>
                </a:lnTo>
                <a:lnTo>
                  <a:pt x="1682" y="1664"/>
                </a:lnTo>
                <a:lnTo>
                  <a:pt x="1704" y="1661"/>
                </a:lnTo>
                <a:lnTo>
                  <a:pt x="1725" y="1658"/>
                </a:lnTo>
                <a:lnTo>
                  <a:pt x="1746" y="1651"/>
                </a:lnTo>
                <a:lnTo>
                  <a:pt x="1764" y="1642"/>
                </a:lnTo>
                <a:lnTo>
                  <a:pt x="1781" y="1629"/>
                </a:lnTo>
                <a:lnTo>
                  <a:pt x="1797" y="1616"/>
                </a:lnTo>
                <a:lnTo>
                  <a:pt x="1812" y="1600"/>
                </a:lnTo>
                <a:lnTo>
                  <a:pt x="1824" y="1582"/>
                </a:lnTo>
                <a:lnTo>
                  <a:pt x="1824" y="1582"/>
                </a:lnTo>
                <a:lnTo>
                  <a:pt x="1834" y="1562"/>
                </a:lnTo>
                <a:lnTo>
                  <a:pt x="1840" y="1542"/>
                </a:lnTo>
                <a:lnTo>
                  <a:pt x="1845" y="1522"/>
                </a:lnTo>
                <a:lnTo>
                  <a:pt x="1846" y="1501"/>
                </a:lnTo>
                <a:lnTo>
                  <a:pt x="1845" y="1479"/>
                </a:lnTo>
                <a:lnTo>
                  <a:pt x="1841" y="1459"/>
                </a:lnTo>
                <a:lnTo>
                  <a:pt x="1834" y="1438"/>
                </a:lnTo>
                <a:lnTo>
                  <a:pt x="1824" y="1419"/>
                </a:lnTo>
                <a:lnTo>
                  <a:pt x="1102" y="156"/>
                </a:lnTo>
                <a:lnTo>
                  <a:pt x="1102" y="156"/>
                </a:lnTo>
                <a:lnTo>
                  <a:pt x="1089" y="137"/>
                </a:lnTo>
                <a:lnTo>
                  <a:pt x="1076" y="121"/>
                </a:lnTo>
                <a:lnTo>
                  <a:pt x="1060" y="107"/>
                </a:lnTo>
                <a:lnTo>
                  <a:pt x="1042" y="96"/>
                </a:lnTo>
                <a:lnTo>
                  <a:pt x="1023" y="86"/>
                </a:lnTo>
                <a:lnTo>
                  <a:pt x="1004" y="78"/>
                </a:lnTo>
                <a:lnTo>
                  <a:pt x="981" y="75"/>
                </a:lnTo>
                <a:lnTo>
                  <a:pt x="959" y="74"/>
                </a:lnTo>
                <a:lnTo>
                  <a:pt x="959" y="74"/>
                </a:lnTo>
                <a:close/>
                <a:moveTo>
                  <a:pt x="996" y="1166"/>
                </a:moveTo>
                <a:lnTo>
                  <a:pt x="996" y="484"/>
                </a:lnTo>
                <a:lnTo>
                  <a:pt x="996" y="484"/>
                </a:lnTo>
                <a:lnTo>
                  <a:pt x="996" y="477"/>
                </a:lnTo>
                <a:lnTo>
                  <a:pt x="994" y="470"/>
                </a:lnTo>
                <a:lnTo>
                  <a:pt x="990" y="464"/>
                </a:lnTo>
                <a:lnTo>
                  <a:pt x="985" y="458"/>
                </a:lnTo>
                <a:lnTo>
                  <a:pt x="980" y="453"/>
                </a:lnTo>
                <a:lnTo>
                  <a:pt x="974" y="451"/>
                </a:lnTo>
                <a:lnTo>
                  <a:pt x="967" y="448"/>
                </a:lnTo>
                <a:lnTo>
                  <a:pt x="959" y="447"/>
                </a:lnTo>
                <a:lnTo>
                  <a:pt x="959" y="447"/>
                </a:lnTo>
                <a:lnTo>
                  <a:pt x="952" y="448"/>
                </a:lnTo>
                <a:lnTo>
                  <a:pt x="946" y="451"/>
                </a:lnTo>
                <a:lnTo>
                  <a:pt x="940" y="453"/>
                </a:lnTo>
                <a:lnTo>
                  <a:pt x="934" y="458"/>
                </a:lnTo>
                <a:lnTo>
                  <a:pt x="930" y="464"/>
                </a:lnTo>
                <a:lnTo>
                  <a:pt x="926" y="470"/>
                </a:lnTo>
                <a:lnTo>
                  <a:pt x="924" y="477"/>
                </a:lnTo>
                <a:lnTo>
                  <a:pt x="924" y="484"/>
                </a:lnTo>
                <a:lnTo>
                  <a:pt x="924" y="1166"/>
                </a:lnTo>
                <a:lnTo>
                  <a:pt x="924" y="1166"/>
                </a:lnTo>
                <a:lnTo>
                  <a:pt x="924" y="1174"/>
                </a:lnTo>
                <a:lnTo>
                  <a:pt x="926" y="1181"/>
                </a:lnTo>
                <a:lnTo>
                  <a:pt x="930" y="1187"/>
                </a:lnTo>
                <a:lnTo>
                  <a:pt x="934" y="1192"/>
                </a:lnTo>
                <a:lnTo>
                  <a:pt x="940" y="1197"/>
                </a:lnTo>
                <a:lnTo>
                  <a:pt x="946" y="1201"/>
                </a:lnTo>
                <a:lnTo>
                  <a:pt x="952" y="1202"/>
                </a:lnTo>
                <a:lnTo>
                  <a:pt x="959" y="1203"/>
                </a:lnTo>
                <a:lnTo>
                  <a:pt x="959" y="1203"/>
                </a:lnTo>
                <a:lnTo>
                  <a:pt x="967" y="1202"/>
                </a:lnTo>
                <a:lnTo>
                  <a:pt x="974" y="1201"/>
                </a:lnTo>
                <a:lnTo>
                  <a:pt x="980" y="1197"/>
                </a:lnTo>
                <a:lnTo>
                  <a:pt x="985" y="1192"/>
                </a:lnTo>
                <a:lnTo>
                  <a:pt x="990" y="1187"/>
                </a:lnTo>
                <a:lnTo>
                  <a:pt x="994" y="1181"/>
                </a:lnTo>
                <a:lnTo>
                  <a:pt x="996" y="1174"/>
                </a:lnTo>
                <a:lnTo>
                  <a:pt x="996" y="1166"/>
                </a:lnTo>
                <a:lnTo>
                  <a:pt x="996" y="1166"/>
                </a:lnTo>
                <a:close/>
                <a:moveTo>
                  <a:pt x="959" y="1321"/>
                </a:moveTo>
                <a:lnTo>
                  <a:pt x="959" y="1321"/>
                </a:lnTo>
                <a:lnTo>
                  <a:pt x="948" y="1321"/>
                </a:lnTo>
                <a:lnTo>
                  <a:pt x="939" y="1324"/>
                </a:lnTo>
                <a:lnTo>
                  <a:pt x="930" y="1329"/>
                </a:lnTo>
                <a:lnTo>
                  <a:pt x="921" y="1337"/>
                </a:lnTo>
                <a:lnTo>
                  <a:pt x="914" y="1344"/>
                </a:lnTo>
                <a:lnTo>
                  <a:pt x="909" y="1354"/>
                </a:lnTo>
                <a:lnTo>
                  <a:pt x="907" y="1364"/>
                </a:lnTo>
                <a:lnTo>
                  <a:pt x="905" y="1375"/>
                </a:lnTo>
                <a:lnTo>
                  <a:pt x="905" y="1375"/>
                </a:lnTo>
                <a:lnTo>
                  <a:pt x="907" y="1386"/>
                </a:lnTo>
                <a:lnTo>
                  <a:pt x="909" y="1395"/>
                </a:lnTo>
                <a:lnTo>
                  <a:pt x="914" y="1405"/>
                </a:lnTo>
                <a:lnTo>
                  <a:pt x="921" y="1413"/>
                </a:lnTo>
                <a:lnTo>
                  <a:pt x="930" y="1420"/>
                </a:lnTo>
                <a:lnTo>
                  <a:pt x="939" y="1425"/>
                </a:lnTo>
                <a:lnTo>
                  <a:pt x="948" y="1428"/>
                </a:lnTo>
                <a:lnTo>
                  <a:pt x="959" y="1428"/>
                </a:lnTo>
                <a:lnTo>
                  <a:pt x="959" y="1428"/>
                </a:lnTo>
                <a:lnTo>
                  <a:pt x="970" y="1428"/>
                </a:lnTo>
                <a:lnTo>
                  <a:pt x="981" y="1425"/>
                </a:lnTo>
                <a:lnTo>
                  <a:pt x="990" y="1420"/>
                </a:lnTo>
                <a:lnTo>
                  <a:pt x="999" y="1413"/>
                </a:lnTo>
                <a:lnTo>
                  <a:pt x="1005" y="1405"/>
                </a:lnTo>
                <a:lnTo>
                  <a:pt x="1010" y="1395"/>
                </a:lnTo>
                <a:lnTo>
                  <a:pt x="1013" y="1386"/>
                </a:lnTo>
                <a:lnTo>
                  <a:pt x="1015" y="1375"/>
                </a:lnTo>
                <a:lnTo>
                  <a:pt x="1015" y="1375"/>
                </a:lnTo>
                <a:lnTo>
                  <a:pt x="1013" y="1364"/>
                </a:lnTo>
                <a:lnTo>
                  <a:pt x="1010" y="1354"/>
                </a:lnTo>
                <a:lnTo>
                  <a:pt x="1005" y="1344"/>
                </a:lnTo>
                <a:lnTo>
                  <a:pt x="999" y="1337"/>
                </a:lnTo>
                <a:lnTo>
                  <a:pt x="990" y="1329"/>
                </a:lnTo>
                <a:lnTo>
                  <a:pt x="981" y="1324"/>
                </a:lnTo>
                <a:lnTo>
                  <a:pt x="970" y="1321"/>
                </a:lnTo>
                <a:lnTo>
                  <a:pt x="959" y="1321"/>
                </a:lnTo>
                <a:lnTo>
                  <a:pt x="959" y="1321"/>
                </a:lnTo>
                <a:close/>
              </a:path>
            </a:pathLst>
          </a:custGeom>
          <a:solidFill>
            <a:srgbClr val="00A0F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5" name="Rechteck 14"/>
          <p:cNvSpPr/>
          <p:nvPr/>
        </p:nvSpPr>
        <p:spPr>
          <a:xfrm>
            <a:off x="1189994" y="5445224"/>
            <a:ext cx="4978014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fr-FR" dirty="0">
                <a:solidFill>
                  <a:schemeClr val="accent5"/>
                </a:solidFill>
              </a:rPr>
              <a:t>On peut alterner au sein de l’équipe d’une réunion à l’autre. </a:t>
            </a:r>
          </a:p>
        </p:txBody>
      </p:sp>
      <p:sp>
        <p:nvSpPr>
          <p:cNvPr id="16" name="Rechteck 15"/>
          <p:cNvSpPr/>
          <p:nvPr/>
        </p:nvSpPr>
        <p:spPr>
          <a:xfrm>
            <a:off x="6960096" y="5477610"/>
            <a:ext cx="4968552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fr-FR">
                <a:solidFill>
                  <a:schemeClr val="accent5"/>
                </a:solidFill>
              </a:rPr>
              <a:t>Ces entames doivent être prévues pour que la discussion ne s’éternise pas. </a:t>
            </a:r>
          </a:p>
        </p:txBody>
      </p:sp>
    </p:spTree>
    <p:extLst>
      <p:ext uri="{BB962C8B-B14F-4D97-AF65-F5344CB8AC3E}">
        <p14:creationId xmlns:p14="http://schemas.microsoft.com/office/powerpoint/2010/main" val="4105416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 descr="Ein Bild, das Person, Mann, lächelnd, darstellend enthält.&#10;&#10;Automatisch generierte Beschreibung">
            <a:extLst>
              <a:ext uri="{FF2B5EF4-FFF2-40B4-BE49-F238E27FC236}">
                <a16:creationId xmlns:a16="http://schemas.microsoft.com/office/drawing/2014/main" id="{43453BA9-8C3D-3D43-AFA0-5286FF97C96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4416"/>
            <a:ext cx="6136213" cy="6861865"/>
          </a:xfrm>
          <a:prstGeom prst="rect">
            <a:avLst/>
          </a:prstGeom>
        </p:spPr>
      </p:pic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218" name="think-cell Folie" r:id="rId5" imgW="416" imgH="416" progId="TCLayout.ActiveDocument.1">
                  <p:embed/>
                </p:oleObj>
              </mc:Choice>
              <mc:Fallback>
                <p:oleObj name="think-cell Folie" r:id="rId5" imgW="416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"/>
          <p:cNvSpPr/>
          <p:nvPr/>
        </p:nvSpPr>
        <p:spPr>
          <a:xfrm>
            <a:off x="6023992" y="-3866"/>
            <a:ext cx="6168007" cy="686186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4000" rtlCol="0" anchor="ctr"/>
          <a:lstStyle/>
          <a:p>
            <a:pPr lvl="0">
              <a:lnSpc>
                <a:spcPct val="90000"/>
              </a:lnSpc>
            </a:pPr>
            <a:r>
              <a:rPr lang="fr-FR" sz="4400" dirty="0">
                <a:solidFill>
                  <a:srgbClr val="FFFFFF"/>
                </a:solidFill>
              </a:rPr>
              <a:t>Je vais comme ça …</a:t>
            </a:r>
          </a:p>
          <a:p>
            <a:pPr lvl="0">
              <a:lnSpc>
                <a:spcPct val="90000"/>
              </a:lnSpc>
            </a:pPr>
            <a:endParaRPr lang="de-DE" sz="16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</a:pPr>
            <a:endParaRPr lang="de-DE" sz="16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</a:pPr>
            <a:endParaRPr lang="de-DE" sz="16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</a:pPr>
            <a:endParaRPr lang="de-DE" sz="24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</a:pPr>
            <a:endParaRPr lang="de-DE" sz="24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</a:pPr>
            <a:r>
              <a:rPr lang="fr-FR" sz="2400" dirty="0">
                <a:solidFill>
                  <a:srgbClr val="FFFFFF"/>
                </a:solidFill>
              </a:rPr>
              <a:t>Mon état d’esprit en ce moment, c’est ...</a:t>
            </a:r>
          </a:p>
          <a:p>
            <a:pPr lvl="0">
              <a:lnSpc>
                <a:spcPct val="90000"/>
              </a:lnSpc>
            </a:pPr>
            <a:endParaRPr lang="de-DE" sz="2400" dirty="0">
              <a:solidFill>
                <a:srgbClr val="FFFFFF"/>
              </a:solidFill>
            </a:endParaRP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5600" y="247538"/>
            <a:ext cx="1340400" cy="350216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84471" y="6272825"/>
            <a:ext cx="372567" cy="372567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 rotWithShape="1">
          <a:blip r:embed="rId9">
            <a:extLst/>
          </a:blip>
          <a:srcRect l="29134" t="41835" r="28631" b="32008"/>
          <a:stretch/>
        </p:blipFill>
        <p:spPr>
          <a:xfrm>
            <a:off x="44344" y="188921"/>
            <a:ext cx="5282343" cy="2181015"/>
          </a:xfrm>
          <a:prstGeom prst="rect">
            <a:avLst/>
          </a:prstGeom>
        </p:spPr>
      </p:pic>
      <p:sp>
        <p:nvSpPr>
          <p:cNvPr id="9" name="Ellipse 8"/>
          <p:cNvSpPr/>
          <p:nvPr/>
        </p:nvSpPr>
        <p:spPr>
          <a:xfrm rot="20816938">
            <a:off x="-51550" y="4375681"/>
            <a:ext cx="2520280" cy="220828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fr-FR" sz="1600" dirty="0">
                <a:solidFill>
                  <a:schemeClr val="bg1"/>
                </a:solidFill>
              </a:rPr>
              <a:t>Cela ne prend pas beaucoup de temps...</a:t>
            </a:r>
          </a:p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de-DE" sz="1600" dirty="0">
              <a:solidFill>
                <a:schemeClr val="bg1"/>
              </a:solidFill>
            </a:endParaRPr>
          </a:p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fr-FR" sz="1600" dirty="0">
                <a:solidFill>
                  <a:schemeClr val="bg1"/>
                </a:solidFill>
              </a:rPr>
              <a:t>2 à 3 minutes de brève entame pour les discussions d’équipe et les réunions</a:t>
            </a:r>
            <a:endParaRPr lang="fr-FR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7777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 descr="Ein Bild, das Person enthält.&#10;&#10;Automatisch generierte Beschreibung">
            <a:extLst>
              <a:ext uri="{FF2B5EF4-FFF2-40B4-BE49-F238E27FC236}">
                <a16:creationId xmlns:a16="http://schemas.microsoft.com/office/drawing/2014/main" id="{4C8E75A5-9084-3E41-8628-0A22526E2B5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866"/>
            <a:ext cx="6121400" cy="6855516"/>
          </a:xfrm>
          <a:prstGeom prst="rect">
            <a:avLst/>
          </a:prstGeom>
        </p:spPr>
      </p:pic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42" name="think-cell Folie" r:id="rId5" imgW="416" imgH="416" progId="TCLayout.ActiveDocument.1">
                  <p:embed/>
                </p:oleObj>
              </mc:Choice>
              <mc:Fallback>
                <p:oleObj name="think-cell Folie" r:id="rId5" imgW="416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"/>
          <p:cNvSpPr/>
          <p:nvPr/>
        </p:nvSpPr>
        <p:spPr>
          <a:xfrm>
            <a:off x="6023992" y="-3866"/>
            <a:ext cx="6168007" cy="686186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4000" rtlCol="0" anchor="ctr"/>
          <a:lstStyle/>
          <a:p>
            <a:pPr lvl="0">
              <a:lnSpc>
                <a:spcPct val="90000"/>
              </a:lnSpc>
            </a:pPr>
            <a:r>
              <a:rPr lang="fr-FR" sz="4400" dirty="0">
                <a:solidFill>
                  <a:srgbClr val="FFFFFF"/>
                </a:solidFill>
              </a:rPr>
              <a:t>Je vais comme ça …</a:t>
            </a:r>
          </a:p>
          <a:p>
            <a:pPr lvl="0">
              <a:lnSpc>
                <a:spcPct val="90000"/>
              </a:lnSpc>
            </a:pPr>
            <a:endParaRPr lang="de-DE" sz="16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</a:pPr>
            <a:endParaRPr lang="de-DE" sz="16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</a:pPr>
            <a:endParaRPr lang="de-DE" sz="16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</a:pPr>
            <a:endParaRPr lang="de-DE" sz="24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</a:pPr>
            <a:endParaRPr lang="de-DE" sz="24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</a:pPr>
            <a:endParaRPr lang="de-DE" sz="24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</a:pPr>
            <a:r>
              <a:rPr lang="fr-FR" sz="2400" dirty="0">
                <a:solidFill>
                  <a:srgbClr val="FFFFFF"/>
                </a:solidFill>
              </a:rPr>
              <a:t>Ce qui m’énerve en ce moment, c’est que ...</a:t>
            </a:r>
          </a:p>
          <a:p>
            <a:pPr lvl="0">
              <a:lnSpc>
                <a:spcPct val="90000"/>
              </a:lnSpc>
            </a:pPr>
            <a:endParaRPr lang="de-DE" sz="24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</a:pPr>
            <a:r>
              <a:rPr lang="fr-FR" sz="2400" dirty="0">
                <a:solidFill>
                  <a:srgbClr val="FFFFFF"/>
                </a:solidFill>
              </a:rPr>
              <a:t>Ce qui me manque vraiment, c’est ...</a:t>
            </a:r>
          </a:p>
          <a:p>
            <a:pPr lvl="0">
              <a:lnSpc>
                <a:spcPct val="90000"/>
              </a:lnSpc>
            </a:pPr>
            <a:endParaRPr lang="de-DE" sz="24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</a:pPr>
            <a:r>
              <a:rPr lang="fr-FR" sz="2400" dirty="0">
                <a:solidFill>
                  <a:srgbClr val="FFFFFF"/>
                </a:solidFill>
              </a:rPr>
              <a:t>Ce que j’attends le plus, c’est ...</a:t>
            </a:r>
          </a:p>
          <a:p>
            <a:pPr lvl="0">
              <a:lnSpc>
                <a:spcPct val="90000"/>
              </a:lnSpc>
            </a:pPr>
            <a:endParaRPr lang="de-DE" sz="24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</a:pPr>
            <a:r>
              <a:rPr lang="fr-FR" sz="2400" dirty="0">
                <a:solidFill>
                  <a:srgbClr val="FFFFFF"/>
                </a:solidFill>
              </a:rPr>
              <a:t>Ce qui m’aide en ce moment, c’est ...</a:t>
            </a:r>
          </a:p>
          <a:p>
            <a:pPr lvl="0">
              <a:lnSpc>
                <a:spcPct val="90000"/>
              </a:lnSpc>
            </a:pPr>
            <a:endParaRPr lang="de-DE" sz="2400" dirty="0">
              <a:solidFill>
                <a:srgbClr val="FFFFFF"/>
              </a:solidFill>
            </a:endParaRP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5600" y="247538"/>
            <a:ext cx="1340400" cy="350216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84471" y="6272825"/>
            <a:ext cx="372567" cy="372567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 rotWithShape="1">
          <a:blip r:embed="rId9">
            <a:extLst/>
          </a:blip>
          <a:srcRect l="29134" t="41835" r="28631" b="32008"/>
          <a:stretch/>
        </p:blipFill>
        <p:spPr>
          <a:xfrm>
            <a:off x="44344" y="188921"/>
            <a:ext cx="5282343" cy="2181015"/>
          </a:xfrm>
          <a:prstGeom prst="rect">
            <a:avLst/>
          </a:prstGeom>
        </p:spPr>
      </p:pic>
      <p:sp>
        <p:nvSpPr>
          <p:cNvPr id="9" name="Ellipse 8"/>
          <p:cNvSpPr/>
          <p:nvPr/>
        </p:nvSpPr>
        <p:spPr>
          <a:xfrm rot="20816938">
            <a:off x="-51550" y="4375681"/>
            <a:ext cx="2520280" cy="220828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fr-FR" sz="1600" dirty="0">
                <a:solidFill>
                  <a:schemeClr val="bg1"/>
                </a:solidFill>
              </a:rPr>
              <a:t>Cela ne prend pas beaucoup de temps...</a:t>
            </a:r>
          </a:p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de-DE" sz="1600" dirty="0">
              <a:solidFill>
                <a:schemeClr val="bg1"/>
              </a:solidFill>
            </a:endParaRPr>
          </a:p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fr-FR" sz="1600" dirty="0">
                <a:solidFill>
                  <a:schemeClr val="bg1"/>
                </a:solidFill>
              </a:rPr>
              <a:t>2 à 3 minutes de brève entame pour les discussions d’équipe et les réunions</a:t>
            </a:r>
            <a:endParaRPr lang="fr-FR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5898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 descr="Ein Bild, das Person, lächelnd, tragen, darstellend enthält.&#10;&#10;Automatisch generierte Beschreibung">
            <a:extLst>
              <a:ext uri="{FF2B5EF4-FFF2-40B4-BE49-F238E27FC236}">
                <a16:creationId xmlns:a16="http://schemas.microsoft.com/office/drawing/2014/main" id="{FAB432B9-AD66-2B44-9711-730D5729397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867"/>
            <a:ext cx="6924092" cy="6859861"/>
          </a:xfrm>
          <a:prstGeom prst="rect">
            <a:avLst/>
          </a:prstGeom>
        </p:spPr>
      </p:pic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266" name="think-cell Folie" r:id="rId5" imgW="416" imgH="416" progId="TCLayout.ActiveDocument.1">
                  <p:embed/>
                </p:oleObj>
              </mc:Choice>
              <mc:Fallback>
                <p:oleObj name="think-cell Folie" r:id="rId5" imgW="416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1"/>
          <p:cNvSpPr/>
          <p:nvPr/>
        </p:nvSpPr>
        <p:spPr>
          <a:xfrm>
            <a:off x="6023992" y="-3866"/>
            <a:ext cx="6168007" cy="686186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4000" tIns="45720" rIns="91440" bIns="45720" rtlCol="0" anchor="ctr"/>
          <a:lstStyle/>
          <a:p>
            <a:pPr lvl="0">
              <a:lnSpc>
                <a:spcPct val="90000"/>
              </a:lnSpc>
            </a:pPr>
            <a:r>
              <a:rPr lang="fr-FR" sz="4400" dirty="0">
                <a:solidFill>
                  <a:srgbClr val="FFFFFF"/>
                </a:solidFill>
              </a:rPr>
              <a:t>Je vais comme ça …</a:t>
            </a:r>
          </a:p>
          <a:p>
            <a:pPr lvl="0">
              <a:lnSpc>
                <a:spcPct val="90000"/>
              </a:lnSpc>
            </a:pPr>
            <a:endParaRPr lang="de-DE" sz="16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</a:pPr>
            <a:endParaRPr lang="de-DE" sz="16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</a:pPr>
            <a:endParaRPr lang="de-DE" sz="16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</a:pPr>
            <a:endParaRPr lang="de-DE" sz="24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</a:pPr>
            <a:endParaRPr lang="de-DE" sz="24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</a:pPr>
            <a:r>
              <a:rPr lang="fr-FR" sz="2400" dirty="0">
                <a:solidFill>
                  <a:srgbClr val="FFFFFF"/>
                </a:solidFill>
              </a:rPr>
              <a:t>Je suis reconnaissant de ...</a:t>
            </a:r>
          </a:p>
          <a:p>
            <a:pPr lvl="0">
              <a:lnSpc>
                <a:spcPct val="90000"/>
              </a:lnSpc>
            </a:pPr>
            <a:endParaRPr lang="de-DE" sz="24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</a:pPr>
            <a:r>
              <a:rPr lang="fr-FR" sz="2400" dirty="0">
                <a:solidFill>
                  <a:srgbClr val="FFFFFF"/>
                </a:solidFill>
              </a:rPr>
              <a:t>Je me suis réjoui de ...</a:t>
            </a:r>
          </a:p>
          <a:p>
            <a:pPr lvl="0">
              <a:lnSpc>
                <a:spcPct val="90000"/>
              </a:lnSpc>
            </a:pPr>
            <a:endParaRPr lang="de-DE" sz="2400" dirty="0">
              <a:solidFill>
                <a:srgbClr val="FFFFFF"/>
              </a:solidFill>
            </a:endParaRP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5600" y="247538"/>
            <a:ext cx="1340400" cy="350216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84471" y="6272825"/>
            <a:ext cx="372567" cy="372567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 rotWithShape="1">
          <a:blip r:embed="rId9">
            <a:extLst/>
          </a:blip>
          <a:srcRect l="29134" t="41835" r="28631" b="32008"/>
          <a:stretch/>
        </p:blipFill>
        <p:spPr>
          <a:xfrm>
            <a:off x="44344" y="188921"/>
            <a:ext cx="5282343" cy="2181015"/>
          </a:xfrm>
          <a:prstGeom prst="rect">
            <a:avLst/>
          </a:prstGeom>
        </p:spPr>
      </p:pic>
      <p:sp>
        <p:nvSpPr>
          <p:cNvPr id="11" name="Ellipse 10"/>
          <p:cNvSpPr/>
          <p:nvPr/>
        </p:nvSpPr>
        <p:spPr>
          <a:xfrm rot="20816938">
            <a:off x="-51550" y="4375681"/>
            <a:ext cx="2520280" cy="220828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fr-FR" sz="1600" dirty="0">
                <a:solidFill>
                  <a:schemeClr val="bg1"/>
                </a:solidFill>
              </a:rPr>
              <a:t>Cela ne prend pas beaucoup de temps...</a:t>
            </a:r>
          </a:p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de-DE" sz="1600" dirty="0">
              <a:solidFill>
                <a:schemeClr val="bg1"/>
              </a:solidFill>
            </a:endParaRPr>
          </a:p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fr-FR" sz="1600" dirty="0">
                <a:solidFill>
                  <a:schemeClr val="bg1"/>
                </a:solidFill>
              </a:rPr>
              <a:t>2 à 3 minutes de brève entame pour les discussions d’équipe et les réunions</a:t>
            </a:r>
            <a:endParaRPr lang="fr-FR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86280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 descr="Ein Bild, das Text, Person, Gruppe, darstellend enthält.&#10;&#10;Automatisch generierte Beschreibung">
            <a:extLst>
              <a:ext uri="{FF2B5EF4-FFF2-40B4-BE49-F238E27FC236}">
                <a16:creationId xmlns:a16="http://schemas.microsoft.com/office/drawing/2014/main" id="{45D70CC2-2AD3-3B41-9D68-8ADBF61E0B3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4349"/>
            <a:ext cx="6144235" cy="6872347"/>
          </a:xfrm>
          <a:prstGeom prst="rect">
            <a:avLst/>
          </a:prstGeom>
        </p:spPr>
      </p:pic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290" name="think-cell Folie" r:id="rId5" imgW="416" imgH="416" progId="TCLayout.ActiveDocument.1">
                  <p:embed/>
                </p:oleObj>
              </mc:Choice>
              <mc:Fallback>
                <p:oleObj name="think-cell Folie" r:id="rId5" imgW="416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"/>
          <p:cNvSpPr/>
          <p:nvPr/>
        </p:nvSpPr>
        <p:spPr>
          <a:xfrm>
            <a:off x="6023992" y="-3866"/>
            <a:ext cx="6168007" cy="686186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4000" rtlCol="0" anchor="ctr"/>
          <a:lstStyle/>
          <a:p>
            <a:pPr lvl="0">
              <a:lnSpc>
                <a:spcPct val="90000"/>
              </a:lnSpc>
            </a:pPr>
            <a:r>
              <a:rPr lang="fr-FR" sz="4400" dirty="0">
                <a:solidFill>
                  <a:srgbClr val="FFFFFF"/>
                </a:solidFill>
              </a:rPr>
              <a:t>Comment allez-vous ? </a:t>
            </a:r>
          </a:p>
          <a:p>
            <a:pPr lvl="0">
              <a:lnSpc>
                <a:spcPct val="90000"/>
              </a:lnSpc>
            </a:pPr>
            <a:endParaRPr lang="de-DE" sz="16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</a:pPr>
            <a:endParaRPr lang="de-DE" sz="16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</a:pPr>
            <a:endParaRPr lang="de-DE" sz="24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</a:pPr>
            <a:r>
              <a:rPr lang="fr-FR" sz="2400" dirty="0">
                <a:solidFill>
                  <a:srgbClr val="FFFFFF"/>
                </a:solidFill>
              </a:rPr>
              <a:t>Quelle expression du visage te correspond le mieux en ce moment ? </a:t>
            </a:r>
          </a:p>
          <a:p>
            <a:pPr lvl="0">
              <a:lnSpc>
                <a:spcPct val="90000"/>
              </a:lnSpc>
            </a:pPr>
            <a:endParaRPr lang="de-DE" sz="24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</a:pPr>
            <a:r>
              <a:rPr lang="fr-FR" sz="2400" dirty="0">
                <a:solidFill>
                  <a:srgbClr val="FFFFFF"/>
                </a:solidFill>
              </a:rPr>
              <a:t>Pourquoi ? </a:t>
            </a:r>
          </a:p>
          <a:p>
            <a:pPr lvl="0">
              <a:lnSpc>
                <a:spcPct val="90000"/>
              </a:lnSpc>
            </a:pPr>
            <a:endParaRPr lang="de-DE" sz="24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</a:pPr>
            <a:r>
              <a:rPr lang="fr-FR" sz="2400" dirty="0">
                <a:solidFill>
                  <a:srgbClr val="FFFFFF"/>
                </a:solidFill>
              </a:rPr>
              <a:t>Si tu ne vas pas très bien :</a:t>
            </a:r>
            <a:br>
              <a:rPr lang="fr-FR" sz="2400" dirty="0">
                <a:solidFill>
                  <a:srgbClr val="FFFFFF"/>
                </a:solidFill>
              </a:rPr>
            </a:br>
            <a:r>
              <a:rPr lang="fr-FR" sz="2400" dirty="0">
                <a:solidFill>
                  <a:srgbClr val="FFFFFF"/>
                </a:solidFill>
              </a:rPr>
              <a:t>comment pouvons-nous t’aider dans l’équipe ? </a:t>
            </a:r>
            <a:endParaRPr lang="fr-FR" sz="2400" dirty="0">
              <a:solidFill>
                <a:srgbClr val="FFFFFF"/>
              </a:solidFill>
            </a:endParaRP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5600" y="247538"/>
            <a:ext cx="1340400" cy="350216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84471" y="6272825"/>
            <a:ext cx="372567" cy="372567"/>
          </a:xfrm>
          <a:prstGeom prst="rect">
            <a:avLst/>
          </a:prstGeom>
        </p:spPr>
      </p:pic>
      <p:pic>
        <p:nvPicPr>
          <p:cNvPr id="32" name="Grafik 31"/>
          <p:cNvPicPr>
            <a:picLocks noChangeAspect="1"/>
          </p:cNvPicPr>
          <p:nvPr/>
        </p:nvPicPr>
        <p:blipFill rotWithShape="1">
          <a:blip r:embed="rId9">
            <a:extLst/>
          </a:blip>
          <a:srcRect l="29134" t="41835" r="28631" b="32008"/>
          <a:stretch/>
        </p:blipFill>
        <p:spPr>
          <a:xfrm>
            <a:off x="446785" y="1679570"/>
            <a:ext cx="5282343" cy="2181015"/>
          </a:xfrm>
          <a:prstGeom prst="rect">
            <a:avLst/>
          </a:prstGeom>
        </p:spPr>
      </p:pic>
      <p:sp>
        <p:nvSpPr>
          <p:cNvPr id="20" name="Ellipse 8">
            <a:extLst>
              <a:ext uri="{FF2B5EF4-FFF2-40B4-BE49-F238E27FC236}">
                <a16:creationId xmlns:a16="http://schemas.microsoft.com/office/drawing/2014/main" id="{0D9613E3-BD43-834C-84D8-4DB1D1359662}"/>
              </a:ext>
            </a:extLst>
          </p:cNvPr>
          <p:cNvSpPr/>
          <p:nvPr/>
        </p:nvSpPr>
        <p:spPr>
          <a:xfrm rot="20816938">
            <a:off x="-51550" y="4375681"/>
            <a:ext cx="2520280" cy="220828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fr-FR" sz="1600" dirty="0">
                <a:solidFill>
                  <a:schemeClr val="bg1"/>
                </a:solidFill>
              </a:rPr>
              <a:t>Cela ne prend pas beaucoup de temps...</a:t>
            </a:r>
          </a:p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de-DE" sz="1600" dirty="0">
              <a:solidFill>
                <a:schemeClr val="bg1"/>
              </a:solidFill>
            </a:endParaRPr>
          </a:p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fr-FR" sz="1600" dirty="0">
                <a:solidFill>
                  <a:schemeClr val="bg1"/>
                </a:solidFill>
              </a:rPr>
              <a:t>2 à 3 minutes de brève entame pour les discussions d’équipe et les réunions</a:t>
            </a:r>
            <a:endParaRPr lang="fr-FR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35558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 descr="Ein Bild, das Mann, Person, tragen, lächelnd enthält.&#10;&#10;Automatisch generierte Beschreibung">
            <a:extLst>
              <a:ext uri="{FF2B5EF4-FFF2-40B4-BE49-F238E27FC236}">
                <a16:creationId xmlns:a16="http://schemas.microsoft.com/office/drawing/2014/main" id="{1437DA17-8DE8-DB40-A48F-3640A55DC1A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970" y="-15913"/>
            <a:ext cx="6146986" cy="6873912"/>
          </a:xfrm>
          <a:prstGeom prst="rect">
            <a:avLst/>
          </a:prstGeom>
        </p:spPr>
      </p:pic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314" name="think-cell Folie" r:id="rId5" imgW="416" imgH="416" progId="TCLayout.ActiveDocument.1">
                  <p:embed/>
                </p:oleObj>
              </mc:Choice>
              <mc:Fallback>
                <p:oleObj name="think-cell Folie" r:id="rId5" imgW="416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"/>
          <p:cNvSpPr/>
          <p:nvPr/>
        </p:nvSpPr>
        <p:spPr>
          <a:xfrm>
            <a:off x="6023992" y="-3866"/>
            <a:ext cx="6168007" cy="686186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4000" rtlCol="0" anchor="ctr"/>
          <a:lstStyle/>
          <a:p>
            <a:pPr lvl="0">
              <a:lnSpc>
                <a:spcPct val="90000"/>
              </a:lnSpc>
            </a:pPr>
            <a:r>
              <a:rPr lang="fr-FR" sz="4400" dirty="0">
                <a:solidFill>
                  <a:srgbClr val="FFFFFF"/>
                </a:solidFill>
              </a:rPr>
              <a:t>Cela m’intéresse de savoir comment vous allez !</a:t>
            </a:r>
          </a:p>
          <a:p>
            <a:pPr lvl="0">
              <a:lnSpc>
                <a:spcPct val="90000"/>
              </a:lnSpc>
            </a:pPr>
            <a:endParaRPr lang="de-DE" sz="16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</a:pPr>
            <a:endParaRPr lang="de-DE" sz="16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</a:pPr>
            <a:endParaRPr lang="de-DE" sz="24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</a:pPr>
            <a:r>
              <a:rPr lang="fr-FR" sz="2400" dirty="0">
                <a:solidFill>
                  <a:srgbClr val="FFFFFF"/>
                </a:solidFill>
              </a:rPr>
              <a:t>Dans cette situation, j’ai remarqué qu’il </a:t>
            </a:r>
            <a:br>
              <a:rPr lang="fr-FR" sz="2400" dirty="0">
                <a:solidFill>
                  <a:srgbClr val="FFFFFF"/>
                </a:solidFill>
              </a:rPr>
            </a:br>
            <a:r>
              <a:rPr lang="fr-FR" sz="2400" dirty="0">
                <a:solidFill>
                  <a:srgbClr val="FFFFFF"/>
                </a:solidFill>
              </a:rPr>
              <a:t>était important de veiller sur les autres : …</a:t>
            </a:r>
          </a:p>
          <a:p>
            <a:pPr lvl="0">
              <a:lnSpc>
                <a:spcPct val="90000"/>
              </a:lnSpc>
            </a:pPr>
            <a:endParaRPr lang="de-DE" sz="24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</a:pPr>
            <a:endParaRPr lang="de-DE" sz="24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</a:pPr>
            <a:r>
              <a:rPr lang="fr-FR" sz="2400" dirty="0">
                <a:solidFill>
                  <a:srgbClr val="FFFFFF"/>
                </a:solidFill>
              </a:rPr>
              <a:t>Par conséquent : soyons à l’écoute les uns des autres et parlons quand quelque-chose nous tourmente !</a:t>
            </a:r>
            <a:endParaRPr lang="fr-FR" sz="2400" dirty="0">
              <a:solidFill>
                <a:srgbClr val="FFFFFF"/>
              </a:solidFill>
            </a:endParaRP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5600" y="247538"/>
            <a:ext cx="1340400" cy="350216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84471" y="6272825"/>
            <a:ext cx="372567" cy="372567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 rotWithShape="1">
          <a:blip r:embed="rId9">
            <a:extLst/>
          </a:blip>
          <a:srcRect l="29134" t="41835" r="28631" b="32008"/>
          <a:stretch/>
        </p:blipFill>
        <p:spPr>
          <a:xfrm>
            <a:off x="44344" y="188921"/>
            <a:ext cx="5282343" cy="2181015"/>
          </a:xfrm>
          <a:prstGeom prst="rect">
            <a:avLst/>
          </a:prstGeom>
        </p:spPr>
      </p:pic>
      <p:sp>
        <p:nvSpPr>
          <p:cNvPr id="9" name="Ellipse 8"/>
          <p:cNvSpPr/>
          <p:nvPr/>
        </p:nvSpPr>
        <p:spPr>
          <a:xfrm rot="20816938">
            <a:off x="-51550" y="4375681"/>
            <a:ext cx="2520280" cy="220828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fr-FR" sz="1600" dirty="0">
                <a:solidFill>
                  <a:schemeClr val="bg1"/>
                </a:solidFill>
              </a:rPr>
              <a:t>Cela ne prend pas beaucoup de temps...</a:t>
            </a:r>
          </a:p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de-DE" sz="1600" dirty="0">
              <a:solidFill>
                <a:schemeClr val="bg1"/>
              </a:solidFill>
            </a:endParaRPr>
          </a:p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fr-FR" sz="1600" dirty="0">
                <a:solidFill>
                  <a:schemeClr val="bg1"/>
                </a:solidFill>
              </a:rPr>
              <a:t>2 à 3 minutes de brève entame pour les discussions d’équipe et les réunions</a:t>
            </a:r>
            <a:endParaRPr lang="fr-FR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5473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 descr="Ein Bild, das Mann, Person, tragen, darstellend enthält.&#10;&#10;Automatisch generierte Beschreibung">
            <a:extLst>
              <a:ext uri="{FF2B5EF4-FFF2-40B4-BE49-F238E27FC236}">
                <a16:creationId xmlns:a16="http://schemas.microsoft.com/office/drawing/2014/main" id="{4285692B-9321-7447-97F5-0377A904028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-5297"/>
            <a:ext cx="6136213" cy="6861865"/>
          </a:xfrm>
          <a:prstGeom prst="rect">
            <a:avLst/>
          </a:prstGeom>
        </p:spPr>
      </p:pic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338" name="think-cell Folie" r:id="rId5" imgW="416" imgH="416" progId="TCLayout.ActiveDocument.1">
                  <p:embed/>
                </p:oleObj>
              </mc:Choice>
              <mc:Fallback>
                <p:oleObj name="think-cell Folie" r:id="rId5" imgW="416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"/>
          <p:cNvSpPr/>
          <p:nvPr/>
        </p:nvSpPr>
        <p:spPr>
          <a:xfrm>
            <a:off x="6023992" y="-3866"/>
            <a:ext cx="6168007" cy="686186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4000" tIns="45720" rIns="91440" bIns="45720" rtlCol="0" anchor="ctr"/>
          <a:lstStyle/>
          <a:p>
            <a:pPr lvl="0">
              <a:lnSpc>
                <a:spcPct val="90000"/>
              </a:lnSpc>
            </a:pPr>
            <a:r>
              <a:rPr lang="fr-FR" sz="4400" dirty="0">
                <a:solidFill>
                  <a:srgbClr val="FFFFFF"/>
                </a:solidFill>
              </a:rPr>
              <a:t>À un moment, moi aussi, je n’allais pas bien du tout !</a:t>
            </a:r>
          </a:p>
          <a:p>
            <a:pPr lvl="0">
              <a:lnSpc>
                <a:spcPct val="90000"/>
              </a:lnSpc>
            </a:pPr>
            <a:endParaRPr lang="de-DE" sz="16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</a:pPr>
            <a:endParaRPr lang="de-DE" sz="16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</a:pPr>
            <a:endParaRPr lang="de-DE" sz="24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</a:pPr>
            <a:r>
              <a:rPr lang="fr-FR" sz="2400" dirty="0">
                <a:solidFill>
                  <a:srgbClr val="FFFFFF"/>
                </a:solidFill>
              </a:rPr>
              <a:t>Je n’allais pas bien du tout quand ...</a:t>
            </a:r>
          </a:p>
          <a:p>
            <a:pPr lvl="0">
              <a:lnSpc>
                <a:spcPct val="90000"/>
              </a:lnSpc>
            </a:pPr>
            <a:endParaRPr lang="de-DE" sz="24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</a:pPr>
            <a:r>
              <a:rPr lang="fr-FR" sz="2400" dirty="0">
                <a:solidFill>
                  <a:srgbClr val="FFFFFF"/>
                </a:solidFill>
              </a:rPr>
              <a:t>Ce qui m’a aidé, c’est ...</a:t>
            </a:r>
          </a:p>
          <a:p>
            <a:pPr lvl="0">
              <a:lnSpc>
                <a:spcPct val="90000"/>
              </a:lnSpc>
            </a:pPr>
            <a:endParaRPr lang="de-DE" sz="2400" dirty="0">
              <a:solidFill>
                <a:srgbClr val="FFFFFF"/>
              </a:solidFill>
            </a:endParaRP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5600" y="247538"/>
            <a:ext cx="1340400" cy="350216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84471" y="6272825"/>
            <a:ext cx="372567" cy="372567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 rotWithShape="1">
          <a:blip r:embed="rId9">
            <a:extLst/>
          </a:blip>
          <a:srcRect l="29134" t="41835" r="28631" b="32008"/>
          <a:stretch/>
        </p:blipFill>
        <p:spPr>
          <a:xfrm>
            <a:off x="44344" y="188921"/>
            <a:ext cx="5282343" cy="2181015"/>
          </a:xfrm>
          <a:prstGeom prst="rect">
            <a:avLst/>
          </a:prstGeom>
        </p:spPr>
      </p:pic>
      <p:sp>
        <p:nvSpPr>
          <p:cNvPr id="9" name="Ellipse 8"/>
          <p:cNvSpPr/>
          <p:nvPr/>
        </p:nvSpPr>
        <p:spPr>
          <a:xfrm rot="20816938">
            <a:off x="-51550" y="4375681"/>
            <a:ext cx="2520280" cy="220828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fr-FR" sz="1600" dirty="0">
                <a:solidFill>
                  <a:schemeClr val="bg1"/>
                </a:solidFill>
              </a:rPr>
              <a:t>Cela ne prend pas beaucoup de temps...</a:t>
            </a:r>
          </a:p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de-DE" sz="1600" dirty="0">
              <a:solidFill>
                <a:schemeClr val="bg1"/>
              </a:solidFill>
            </a:endParaRPr>
          </a:p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fr-FR" sz="1600" dirty="0">
                <a:solidFill>
                  <a:schemeClr val="bg1"/>
                </a:solidFill>
              </a:rPr>
              <a:t>2 à 3 minutes de brève entame pour les discussions d’équipe et les réunions</a:t>
            </a:r>
            <a:endParaRPr lang="fr-FR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4104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16x9e03112-3f35-4972-a433-d1af116995fe"/>
  <p:tag name="THINKCELLPRESENTATIONDONOTDELETE" val="&lt;?xml version=&quot;1.0&quot; encoding=&quot;UTF-16&quot; standalone=&quot;yes&quot;?&gt;&lt;root reqver=&quot;23045&quot;&gt;&lt;version val=&quot;2515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&quot;&gt;&lt;elem m_fUsage=&quot;1.00000000000000000000E+00&quot;&gt;&lt;m_msothmcolidx val=&quot;0&quot;/&gt;&lt;m_rgb r=&quot;00&quot; g=&quot;A0&quot; b=&quot;F5&quot;/&gt;&lt;m_nBrightness val=&quot;0&quot;/&gt;&lt;/elem&gt;&lt;elem m_fUsage=&quot;9.00000000000000022204E-01&quot;&gt;&lt;m_msothmcolidx val=&quot;0&quot;/&gt;&lt;m_rgb r=&quot;00&quot; g=&quot;78&quot; b=&quot;DC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qCU_ywFSyK55TaSI.pnMg"/>
</p:tagLst>
</file>

<file path=ppt/theme/theme1.xml><?xml version="1.0" encoding="utf-8"?>
<a:theme xmlns:a="http://schemas.openxmlformats.org/drawingml/2006/main" name="151125_0940_HWAO_Master January 2016">
  <a:themeElements>
    <a:clrScheme name="thyssenkrupp">
      <a:dk1>
        <a:srgbClr val="4B5564"/>
      </a:dk1>
      <a:lt1>
        <a:srgbClr val="FFFFFF"/>
      </a:lt1>
      <a:dk2>
        <a:srgbClr val="B0BAC4"/>
      </a:dk2>
      <a:lt2>
        <a:srgbClr val="78879B"/>
      </a:lt2>
      <a:accent1>
        <a:srgbClr val="D9DEE8"/>
      </a:accent1>
      <a:accent2>
        <a:srgbClr val="003C7D"/>
      </a:accent2>
      <a:accent3>
        <a:srgbClr val="0078DC"/>
      </a:accent3>
      <a:accent4>
        <a:srgbClr val="74C4EF"/>
      </a:accent4>
      <a:accent5>
        <a:srgbClr val="00A0F5"/>
      </a:accent5>
      <a:accent6>
        <a:srgbClr val="FFB400"/>
      </a:accent6>
      <a:hlink>
        <a:srgbClr val="4B5564"/>
      </a:hlink>
      <a:folHlink>
        <a:srgbClr val="9FAAB8"/>
      </a:folHlink>
    </a:clrScheme>
    <a:fontScheme name="tk">
      <a:majorFont>
        <a:latin typeface="TKTypeBold"/>
        <a:ea typeface=""/>
        <a:cs typeface=""/>
      </a:majorFont>
      <a:minorFont>
        <a:latin typeface="TKType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1600" dirty="0" err="1" smtClean="0">
            <a:ln>
              <a:noFill/>
            </a:ln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>
        <a:spAutoFit/>
      </a:bodyPr>
      <a:lstStyle>
        <a:defPPr>
          <a:lnSpc>
            <a:spcPct val="90000"/>
          </a:lnSpc>
          <a:spcBef>
            <a:spcPts val="600"/>
          </a:spcBef>
          <a:defRPr sz="16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6625A606E90E954DAC8B213F9002B9E5" ma:contentTypeVersion="2" ma:contentTypeDescription="Ein neues Dokument erstellen." ma:contentTypeScope="" ma:versionID="d7ef7ac9a41de9aebcb4df7b3c2823e9">
  <xsd:schema xmlns:xsd="http://www.w3.org/2001/XMLSchema" xmlns:xs="http://www.w3.org/2001/XMLSchema" xmlns:p="http://schemas.microsoft.com/office/2006/metadata/properties" xmlns:ns2="c51f9492-06f6-4d1e-aceb-358b31fe04ed" targetNamespace="http://schemas.microsoft.com/office/2006/metadata/properties" ma:root="true" ma:fieldsID="ced1fb7346b8b7ae197ade30273884e6" ns2:_="">
    <xsd:import namespace="c51f9492-06f6-4d1e-aceb-358b31fe04e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51f9492-06f6-4d1e-aceb-358b31fe04e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C6F2B4B-4548-4147-85A2-7E0808111BB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51f9492-06f6-4d1e-aceb-358b31fe04e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8EBDE8F-F760-4A93-9145-16D1FF2E4D1F}">
  <ds:schemaRefs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c51f9492-06f6-4d1e-aceb-358b31fe04ed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599E5F5B-D635-4B9D-8D36-D8946A72089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43</Words>
  <Application>Microsoft Office PowerPoint</Application>
  <PresentationFormat>Breitbild</PresentationFormat>
  <Paragraphs>85</Paragraphs>
  <Slides>8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3" baseType="lpstr">
      <vt:lpstr>Arial</vt:lpstr>
      <vt:lpstr>Calibri</vt:lpstr>
      <vt:lpstr>TKTypeMedium</vt:lpstr>
      <vt:lpstr>151125_0940_HWAO_Master January 2016</vt:lpstr>
      <vt:lpstr>think-cell Folie</vt:lpstr>
      <vt:lpstr>Moments #howareyou Entames de discussions d’équipe, réunions, etc.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Manager/>
  <Company>DPI - Dr. PABST International, München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.care: Kampagne 2021</dc:title>
  <dc:subject>Ü de-fr</dc:subject>
  <dc:creator>Dr. PABST International</dc:creator>
  <cp:keywords/>
  <dc:description/>
  <cp:lastModifiedBy>Tran, Jackie</cp:lastModifiedBy>
  <cp:revision>1046</cp:revision>
  <cp:lastPrinted>2020-12-07T06:37:24Z</cp:lastPrinted>
  <dcterms:created xsi:type="dcterms:W3CDTF">8061-08-24T01:10:10Z</dcterms:created>
  <dcterms:modified xsi:type="dcterms:W3CDTF">2021-03-08T10:34:05Z</dcterms:modified>
  <cp:category/>
  <cp:contentStatus/>
  <cp:version>DPI - Dr. PABST International, München</cp:version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625A606E90E954DAC8B213F9002B9E5</vt:lpwstr>
  </property>
</Properties>
</file>